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tags/tag117.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4.xml" ContentType="application/vnd.openxmlformats-officedocument.theme+xml"/>
  <Override PartName="/ppt/tags/tag118.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5.xml" ContentType="application/vnd.openxmlformats-officedocument.theme+xml"/>
  <Override PartName="/ppt/tags/tag119.xml" ContentType="application/vnd.openxmlformats-officedocument.presentationml.tags+xml"/>
  <Override PartName="/ppt/theme/theme6.xml" ContentType="application/vnd.openxmlformats-officedocument.them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3.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28.xml" ContentType="application/vnd.openxmlformats-officedocument.presentationml.tags+xml"/>
  <Override PartName="/ppt/notesSlides/notesSlide6.xml" ContentType="application/vnd.openxmlformats-officedocument.presentationml.notesSlide+xml"/>
  <Override PartName="/ppt/tags/tag129.xml" ContentType="application/vnd.openxmlformats-officedocument.presentationml.tags+xml"/>
  <Override PartName="/ppt/notesSlides/notesSlide7.xml" ContentType="application/vnd.openxmlformats-officedocument.presentationml.notesSlide+xml"/>
  <Override PartName="/ppt/tags/tag130.xml" ContentType="application/vnd.openxmlformats-officedocument.presentationml.tags+xml"/>
  <Override PartName="/ppt/notesSlides/notesSlide8.xml" ContentType="application/vnd.openxmlformats-officedocument.presentationml.notesSlide+xml"/>
  <Override PartName="/ppt/tags/tag131.xml" ContentType="application/vnd.openxmlformats-officedocument.presentationml.tags+xml"/>
  <Override PartName="/ppt/notesSlides/notesSlide9.xml" ContentType="application/vnd.openxmlformats-officedocument.presentationml.notesSlide+xml"/>
  <Override PartName="/ppt/tags/tag13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21"/>
    <p:sldMasterId id="2147483721" r:id="rId22"/>
    <p:sldMasterId id="2147483752" r:id="rId23"/>
    <p:sldMasterId id="2147483759" r:id="rId24"/>
    <p:sldMasterId id="2147483767" r:id="rId25"/>
  </p:sldMasterIdLst>
  <p:notesMasterIdLst>
    <p:notesMasterId r:id="rId40"/>
  </p:notesMasterIdLst>
  <p:sldIdLst>
    <p:sldId id="902" r:id="rId26"/>
    <p:sldId id="2134804657" r:id="rId27"/>
    <p:sldId id="4236" r:id="rId28"/>
    <p:sldId id="1172" r:id="rId29"/>
    <p:sldId id="1175" r:id="rId30"/>
    <p:sldId id="2147471329" r:id="rId31"/>
    <p:sldId id="2147471205" r:id="rId32"/>
    <p:sldId id="2141411023" r:id="rId33"/>
    <p:sldId id="2134804752" r:id="rId34"/>
    <p:sldId id="2147473818" r:id="rId35"/>
    <p:sldId id="2147473817" r:id="rId36"/>
    <p:sldId id="2147473819" r:id="rId37"/>
    <p:sldId id="2147376730" r:id="rId38"/>
    <p:sldId id="2147375997" r:id="rId39"/>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ardsectie" id="{FB06ED02-5136-4560-9978-EF4DA5A590D8}">
          <p14:sldIdLst>
            <p14:sldId id="902"/>
            <p14:sldId id="2134804657"/>
            <p14:sldId id="4236"/>
            <p14:sldId id="1172"/>
            <p14:sldId id="1175"/>
            <p14:sldId id="2147471329"/>
            <p14:sldId id="2147471205"/>
            <p14:sldId id="2141411023"/>
            <p14:sldId id="2134804752"/>
            <p14:sldId id="2147473818"/>
            <p14:sldId id="2147473817"/>
            <p14:sldId id="2147473819"/>
            <p14:sldId id="2147376730"/>
          </p14:sldIdLst>
        </p14:section>
        <p14:section name="Solution" id="{146B090A-8551-4539-AEE4-6CD263A94D72}">
          <p14:sldIdLst>
            <p14:sldId id="2147375997"/>
          </p14:sldIdLst>
        </p14:section>
        <p14:section name="Backup" id="{9BA98C74-2817-4AD8-859B-6110BA71607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70666F4-FA09-1412-1637-D380FB518C78}" name="Freund, Michel (RC-NL DI CS SEG FA&amp;PA)" initials="FM(NDCSF" userId="S::michel.freund@siemens.com::f3c65bc9-fa47-4cde-a791-394b758e3d1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tieber, Felix (DI CS FA MCS)" initials="SF(CFM" lastIdx="1" clrIdx="0">
    <p:extLst>
      <p:ext uri="{19B8F6BF-5375-455C-9EA6-DF929625EA0E}">
        <p15:presenceInfo xmlns:p15="http://schemas.microsoft.com/office/powerpoint/2012/main" userId="S::felix.stieber@siemens.com::f147c63b-d05e-455b-8db7-376e8662adb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EFFD2"/>
    <a:srgbClr val="CBDEDE"/>
    <a:srgbClr val="CCECFF"/>
    <a:srgbClr val="00646E"/>
    <a:srgbClr val="00D7A0"/>
    <a:srgbClr val="00BE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A2837E-E641-47B9-B4D0-BD01FD50BF36}" v="221" dt="2023-06-12T10:52:40.437"/>
  </p1510:revLst>
</p1510:revInfo>
</file>

<file path=ppt/tableStyles.xml><?xml version="1.0" encoding="utf-8"?>
<a:tblStyleLst xmlns:a="http://schemas.openxmlformats.org/drawingml/2006/main" def="{5C22544A-7EE6-4342-B048-85BDC9FD1C3A}">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9537" autoAdjust="0"/>
  </p:normalViewPr>
  <p:slideViewPr>
    <p:cSldViewPr snapToGrid="0" showGuides="1">
      <p:cViewPr varScale="1">
        <p:scale>
          <a:sx n="74" d="100"/>
          <a:sy n="74" d="100"/>
        </p:scale>
        <p:origin x="1956" y="5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slideMaster" Target="slideMasters/slideMaster1.xml"/><Relationship Id="rId34" Type="http://schemas.openxmlformats.org/officeDocument/2006/relationships/slide" Target="slides/slide9.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4.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Master" Target="slideMasters/slideMaster4.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Master" Target="slideMasters/slideMaster3.xml"/><Relationship Id="rId28" Type="http://schemas.openxmlformats.org/officeDocument/2006/relationships/slide" Target="slides/slide3.xml"/><Relationship Id="rId36" Type="http://schemas.openxmlformats.org/officeDocument/2006/relationships/slide" Target="slides/slide11.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slide" Target="slides/slide6.xml"/><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Master" Target="slideMasters/slideMaster2.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viewProps" Target="viewProps.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Master" Target="slideMasters/slideMaster5.xml"/><Relationship Id="rId33" Type="http://schemas.openxmlformats.org/officeDocument/2006/relationships/slide" Target="slides/slide8.xml"/><Relationship Id="rId38" Type="http://schemas.openxmlformats.org/officeDocument/2006/relationships/slide" Target="slides/slide13.xml"/><Relationship Id="rId46" Type="http://schemas.microsoft.com/office/2015/10/relationships/revisionInfo" Target="revisionInfo.xml"/><Relationship Id="rId20" Type="http://schemas.openxmlformats.org/officeDocument/2006/relationships/customXml" Target="../customXml/item20.xml"/><Relationship Id="rId41"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US"/>
          </a:p>
        </p:txBody>
      </p:sp>
      <p:sp>
        <p:nvSpPr>
          <p:cNvPr id="3" name="Tijdelijke aanduiding voor datum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vl1pPr>
          </a:lstStyle>
          <a:p>
            <a:fld id="{B1F1694F-6D6D-4F25-8B72-04FF5B643235}" type="datetimeFigureOut">
              <a:rPr lang="en-US" smtClean="0"/>
              <a:t>6/12/2023</a:t>
            </a:fld>
            <a:endParaRPr lang="en-US"/>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Tijdelijke aanduiding voor notities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32FA446-2DB9-4849-9172-6AA3761687D6}" type="slidenum">
              <a:rPr lang="en-US" smtClean="0"/>
              <a:t>‹nr.›</a:t>
            </a:fld>
            <a:endParaRPr lang="en-US"/>
          </a:p>
        </p:txBody>
      </p:sp>
    </p:spTree>
    <p:extLst>
      <p:ext uri="{BB962C8B-B14F-4D97-AF65-F5344CB8AC3E}">
        <p14:creationId xmlns:p14="http://schemas.microsoft.com/office/powerpoint/2010/main" val="28653552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4000" y="738188"/>
            <a:ext cx="6335713" cy="3565525"/>
          </a:xfrm>
        </p:spPr>
      </p:sp>
      <p:sp>
        <p:nvSpPr>
          <p:cNvPr id="3" name="Notizenplatzhalter 2"/>
          <p:cNvSpPr>
            <a:spLocks noGrp="1"/>
          </p:cNvSpPr>
          <p:nvPr>
            <p:ph type="body" idx="1"/>
          </p:nvPr>
        </p:nvSpPr>
        <p:spPr/>
        <p:txBody>
          <a:bodyPr/>
          <a:lstStyle/>
          <a:p>
            <a:endParaRPr lang="de-DE">
              <a:solidFill>
                <a:srgbClr val="FF0000"/>
              </a:solidFill>
            </a:endParaRPr>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1</a:t>
            </a:fld>
            <a:endParaRPr lang="de-DE">
              <a:latin typeface="Arial" pitchFamily="34" charset="0"/>
            </a:endParaRPr>
          </a:p>
        </p:txBody>
      </p:sp>
    </p:spTree>
    <p:extLst>
      <p:ext uri="{BB962C8B-B14F-4D97-AF65-F5344CB8AC3E}">
        <p14:creationId xmlns:p14="http://schemas.microsoft.com/office/powerpoint/2010/main" val="26216689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0913" y="1049338"/>
            <a:ext cx="8988426" cy="50561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Automatisch genereren (door </a:t>
            </a:r>
            <a:r>
              <a:rPr lang="nl-NL" dirty="0" err="1"/>
              <a:t>chatGPT</a:t>
            </a:r>
            <a:r>
              <a:rPr lang="nl-NL" dirty="0"/>
              <a:t>) van werkinstructies uit systemen in begrijpelijke taal</a:t>
            </a: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00" dirty="0">
                <a:effectLst/>
                <a:latin typeface="Calibri" panose="020F0502020204030204" pitchFamily="34" charset="0"/>
                <a:ea typeface="Calibri" panose="020F0502020204030204" pitchFamily="34" charset="0"/>
                <a:cs typeface="Times New Roman" panose="02020603050405020304" pitchFamily="18" charset="0"/>
              </a:rPr>
              <a:t>Vertalen Teams chats</a:t>
            </a:r>
          </a:p>
          <a:p>
            <a:r>
              <a:rPr lang="nl-NL" dirty="0" err="1"/>
              <a:t>ChatGPT</a:t>
            </a:r>
            <a:r>
              <a:rPr lang="nl-NL" dirty="0"/>
              <a:t> voor PLC code/software code te genereren, fouten in software op te sporen, </a:t>
            </a:r>
            <a:r>
              <a:rPr lang="nl-NL" dirty="0" err="1"/>
              <a:t>storingzoeken</a:t>
            </a:r>
            <a:r>
              <a:rPr lang="nl-NL" dirty="0"/>
              <a:t>, optimalisatie</a:t>
            </a:r>
          </a:p>
          <a:p>
            <a:r>
              <a:rPr lang="nl-NL" dirty="0"/>
              <a:t>Handleidingen genereren</a:t>
            </a:r>
          </a:p>
          <a:p>
            <a:r>
              <a:rPr lang="nl-NL" dirty="0"/>
              <a:t>Omvangrijke documenten doornemen en samenvattingen te geven. </a:t>
            </a:r>
          </a:p>
          <a:p>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a:effectLst/>
                <a:latin typeface="Calibri" panose="020F0502020204030204" pitchFamily="34" charset="0"/>
                <a:ea typeface="Calibri" panose="020F0502020204030204" pitchFamily="34" charset="0"/>
                <a:cs typeface="Times New Roman" panose="02020603050405020304" pitchFamily="18" charset="0"/>
              </a:rPr>
              <a:t>Andere werkinhoud – het maakt ons werk niet ingewikkelder maar juist makkelijker</a:t>
            </a:r>
            <a:endParaRPr lang="nl-NL" dirty="0"/>
          </a:p>
          <a:p>
            <a:endParaRPr lang="en-US" dirty="0"/>
          </a:p>
        </p:txBody>
      </p:sp>
      <p:sp>
        <p:nvSpPr>
          <p:cNvPr id="4" name="Slide Number Placeholder 3"/>
          <p:cNvSpPr>
            <a:spLocks noGrp="1"/>
          </p:cNvSpPr>
          <p:nvPr>
            <p:ph type="sldNum" sz="quarter" idx="10"/>
          </p:nvPr>
        </p:nvSpPr>
        <p:spPr/>
        <p:txBody>
          <a:bodyPr/>
          <a:lstStyle/>
          <a:p>
            <a:pPr defTabSz="1147115">
              <a:defRPr/>
            </a:pPr>
            <a:r>
              <a:rPr lang="de-DE">
                <a:solidFill>
                  <a:srgbClr val="000000"/>
                </a:solidFill>
                <a:latin typeface="Arial" pitchFamily="34" charset="0"/>
              </a:rPr>
              <a:t>Notes </a:t>
            </a:r>
            <a:fld id="{AD141568-5488-4AC9-B82D-9F5CE1225E2A}" type="slidenum">
              <a:rPr lang="de-DE">
                <a:solidFill>
                  <a:srgbClr val="000000"/>
                </a:solidFill>
                <a:latin typeface="Arial" pitchFamily="34" charset="0"/>
              </a:rPr>
              <a:pPr defTabSz="1147115">
                <a:defRPr/>
              </a:pPr>
              <a:t>12</a:t>
            </a:fld>
            <a:endParaRPr lang="de-DE">
              <a:solidFill>
                <a:srgbClr val="000000"/>
              </a:solidFill>
              <a:latin typeface="Arial" pitchFamily="34" charset="0"/>
            </a:endParaRPr>
          </a:p>
        </p:txBody>
      </p:sp>
    </p:spTree>
    <p:extLst>
      <p:ext uri="{BB962C8B-B14F-4D97-AF65-F5344CB8AC3E}">
        <p14:creationId xmlns:p14="http://schemas.microsoft.com/office/powerpoint/2010/main" val="39432263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7475" y="671513"/>
            <a:ext cx="6565900" cy="3694112"/>
          </a:xfrm>
        </p:spPr>
      </p:sp>
      <p:sp>
        <p:nvSpPr>
          <p:cNvPr id="3" name="Notizenplatzhalter 2"/>
          <p:cNvSpPr>
            <a:spLocks noGrp="1"/>
          </p:cNvSpPr>
          <p:nvPr>
            <p:ph type="body" idx="1"/>
          </p:nvPr>
        </p:nvSpPr>
        <p:spPr/>
        <p:txBody>
          <a:bodyPr/>
          <a:lstStyle/>
          <a:p>
            <a:pPr>
              <a:lnSpc>
                <a:spcPct val="107000"/>
              </a:lnSpc>
              <a:spcAft>
                <a:spcPts val="800"/>
              </a:spcAft>
            </a:pPr>
            <a:r>
              <a:rPr lang="nl-NL" sz="1800" kern="100" dirty="0" err="1">
                <a:effectLst/>
                <a:latin typeface="Calibri" panose="020F0502020204030204" pitchFamily="34" charset="0"/>
                <a:ea typeface="Calibri" panose="020F0502020204030204" pitchFamily="34" charset="0"/>
                <a:cs typeface="Times New Roman" panose="02020603050405020304" pitchFamily="18" charset="0"/>
              </a:rPr>
              <a:t>Key</a:t>
            </a:r>
            <a:r>
              <a:rPr lang="nl-NL" sz="1800" kern="100" dirty="0">
                <a:effectLst/>
                <a:latin typeface="Calibri" panose="020F0502020204030204" pitchFamily="34" charset="0"/>
                <a:ea typeface="Calibri" panose="020F0502020204030204" pitchFamily="34" charset="0"/>
                <a:cs typeface="Times New Roman" panose="02020603050405020304" pitchFamily="18" charset="0"/>
              </a:rPr>
              <a:t> take </a:t>
            </a:r>
            <a:r>
              <a:rPr lang="nl-NL" sz="1800" kern="100" dirty="0" err="1">
                <a:effectLst/>
                <a:latin typeface="Calibri" panose="020F0502020204030204" pitchFamily="34" charset="0"/>
                <a:ea typeface="Calibri" panose="020F0502020204030204" pitchFamily="34" charset="0"/>
                <a:cs typeface="Times New Roman" panose="02020603050405020304" pitchFamily="18" charset="0"/>
              </a:rPr>
              <a:t>aways</a:t>
            </a:r>
            <a:r>
              <a:rPr lang="nl-NL"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nl-NL" sz="1800" kern="100" dirty="0">
                <a:effectLst/>
                <a:latin typeface="Calibri" panose="020F0502020204030204" pitchFamily="34" charset="0"/>
                <a:ea typeface="Calibri" panose="020F0502020204030204" pitchFamily="34" charset="0"/>
                <a:cs typeface="Times New Roman" panose="02020603050405020304" pitchFamily="18" charset="0"/>
              </a:rPr>
              <a:t>Kan autonoom, maar altijd check door mensen (voorbeeld arts).</a:t>
            </a:r>
          </a:p>
          <a:p>
            <a:pPr>
              <a:lnSpc>
                <a:spcPct val="107000"/>
              </a:lnSpc>
              <a:spcAft>
                <a:spcPts val="800"/>
              </a:spcAft>
            </a:pPr>
            <a:r>
              <a:rPr lang="nl-NL" sz="1800" kern="100" dirty="0">
                <a:effectLst/>
                <a:latin typeface="Calibri" panose="020F0502020204030204" pitchFamily="34" charset="0"/>
                <a:ea typeface="Calibri" panose="020F0502020204030204" pitchFamily="34" charset="0"/>
                <a:cs typeface="Times New Roman" panose="02020603050405020304" pitchFamily="18" charset="0"/>
              </a:rPr>
              <a:t>Ondersteunend aan, niet ter vervanging van</a:t>
            </a:r>
          </a:p>
          <a:p>
            <a:pPr marL="0" marR="0" lvl="0" indent="0" algn="l" defTabSz="914400" rtl="0" eaLnBrk="1" fontAlgn="auto" latinLnBrk="0" hangingPunct="1">
              <a:lnSpc>
                <a:spcPct val="100000"/>
              </a:lnSpc>
              <a:spcBef>
                <a:spcPts val="0"/>
              </a:spcBef>
              <a:spcAft>
                <a:spcPts val="0"/>
              </a:spcAft>
              <a:buClrTx/>
              <a:buSzTx/>
              <a:buFontTx/>
              <a:buNone/>
              <a:tabLst/>
              <a:defRPr/>
            </a:pPr>
            <a:r>
              <a:rPr lang="nl-NL" sz="1800" dirty="0">
                <a:effectLst/>
                <a:latin typeface="Calibri" panose="020F0502020204030204" pitchFamily="34" charset="0"/>
                <a:ea typeface="Calibri" panose="020F0502020204030204" pitchFamily="34" charset="0"/>
                <a:cs typeface="Times New Roman" panose="02020603050405020304" pitchFamily="18" charset="0"/>
              </a:rPr>
              <a:t>Andere werkinhoud – niet moeilijker maar juist makkelijker (voorbeeld navigatie)</a:t>
            </a:r>
          </a:p>
          <a:p>
            <a:pPr marL="0" marR="0" lvl="0" indent="0" algn="l" defTabSz="914400" rtl="0" eaLnBrk="1" fontAlgn="auto" latinLnBrk="0" hangingPunct="1">
              <a:lnSpc>
                <a:spcPct val="100000"/>
              </a:lnSpc>
              <a:spcBef>
                <a:spcPts val="0"/>
              </a:spcBef>
              <a:spcAft>
                <a:spcPts val="0"/>
              </a:spcAft>
              <a:buClrTx/>
              <a:buSzTx/>
              <a:buFontTx/>
              <a:buNone/>
              <a:tabLst/>
              <a:defRPr/>
            </a:pPr>
            <a:r>
              <a:rPr lang="nl-NL" sz="1800" dirty="0">
                <a:effectLst/>
                <a:latin typeface="Calibri" panose="020F0502020204030204" pitchFamily="34" charset="0"/>
                <a:ea typeface="Calibri" panose="020F0502020204030204" pitchFamily="34" charset="0"/>
                <a:cs typeface="Times New Roman" panose="02020603050405020304" pitchFamily="18" charset="0"/>
              </a:rPr>
              <a:t>Vooral sneller en productiever (</a:t>
            </a:r>
            <a:r>
              <a:rPr lang="nl-NL" sz="1800" dirty="0" err="1">
                <a:effectLst/>
                <a:latin typeface="Calibri" panose="020F0502020204030204" pitchFamily="34" charset="0"/>
                <a:ea typeface="Calibri" panose="020F0502020204030204" pitchFamily="34" charset="0"/>
                <a:cs typeface="Times New Roman" panose="02020603050405020304" pitchFamily="18" charset="0"/>
              </a:rPr>
              <a:t>storingzoeken</a:t>
            </a:r>
            <a:r>
              <a:rPr lang="nl-NL" sz="1800" dirty="0">
                <a:effectLst/>
                <a:latin typeface="Calibri" panose="020F0502020204030204" pitchFamily="34" charset="0"/>
                <a:ea typeface="Calibri" panose="020F0502020204030204" pitchFamily="34" charset="0"/>
                <a:cs typeface="Times New Roman" panose="02020603050405020304" pitchFamily="18" charset="0"/>
              </a:rPr>
              <a:t>, handleidingen </a:t>
            </a:r>
            <a:r>
              <a:rPr lang="nl-NL" sz="1800" dirty="0" err="1">
                <a:effectLst/>
                <a:latin typeface="Calibri" panose="020F0502020204030204" pitchFamily="34" charset="0"/>
                <a:ea typeface="Calibri" panose="020F0502020204030204" pitchFamily="34" charset="0"/>
                <a:cs typeface="Times New Roman" panose="02020603050405020304" pitchFamily="18" charset="0"/>
              </a:rPr>
              <a:t>etc</a:t>
            </a:r>
            <a:r>
              <a:rPr lang="nl-NL" sz="1800" dirty="0">
                <a:effectLst/>
                <a:latin typeface="Calibri" panose="020F0502020204030204" pitchFamily="34" charset="0"/>
                <a:ea typeface="Calibri" panose="020F0502020204030204" pitchFamily="34" charset="0"/>
                <a:cs typeface="Times New Roman" panose="02020603050405020304" pitchFamily="18" charset="0"/>
              </a:rPr>
              <a:t>)</a:t>
            </a:r>
            <a:endParaRPr lang="nl-NL"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a:p>
            <a:endParaRPr lang="en-US" dirty="0"/>
          </a:p>
        </p:txBody>
      </p:sp>
      <p:sp>
        <p:nvSpPr>
          <p:cNvPr id="4" name="Foliennummernplatzhalt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13</a:t>
            </a:fld>
            <a:endParaRPr lang="en-US"/>
          </a:p>
        </p:txBody>
      </p:sp>
    </p:spTree>
    <p:extLst>
      <p:ext uri="{BB962C8B-B14F-4D97-AF65-F5344CB8AC3E}">
        <p14:creationId xmlns:p14="http://schemas.microsoft.com/office/powerpoint/2010/main" val="585148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2</a:t>
            </a:fld>
            <a:endParaRPr lang="en-US"/>
          </a:p>
        </p:txBody>
      </p:sp>
    </p:spTree>
    <p:extLst>
      <p:ext uri="{BB962C8B-B14F-4D97-AF65-F5344CB8AC3E}">
        <p14:creationId xmlns:p14="http://schemas.microsoft.com/office/powerpoint/2010/main" val="211509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38188" y="877888"/>
            <a:ext cx="8582026" cy="4827587"/>
          </a:xfrm>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r>
              <a:rPr lang="en-GB" b="1">
                <a:solidFill>
                  <a:schemeClr val="accent2"/>
                </a:solidFill>
              </a:rPr>
              <a:t>Notes</a:t>
            </a:r>
            <a:r>
              <a:rPr lang="en-GB"/>
              <a:t> </a:t>
            </a:r>
            <a:fld id="{E76C657F-0E32-4130-ADDA-66B81138A76A}" type="slidenum">
              <a:rPr lang="en-GB" smtClean="0"/>
              <a:pPr/>
              <a:t>3</a:t>
            </a:fld>
            <a:endParaRPr lang="en-GB"/>
          </a:p>
        </p:txBody>
      </p:sp>
    </p:spTree>
    <p:extLst>
      <p:ext uri="{BB962C8B-B14F-4D97-AF65-F5344CB8AC3E}">
        <p14:creationId xmlns:p14="http://schemas.microsoft.com/office/powerpoint/2010/main" val="41468250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pPr rtl="0" fontAlgn="base"/>
            <a:r>
              <a:rPr lang="en-US" sz="1200" b="0" i="0" u="none" strike="noStrike" kern="1200" dirty="0">
                <a:solidFill>
                  <a:schemeClr val="tx1"/>
                </a:solidFill>
                <a:effectLst/>
                <a:latin typeface="+mn-lt"/>
                <a:ea typeface="+mn-ea"/>
                <a:cs typeface="+mn-cs"/>
              </a:rPr>
              <a:t>Industry is particularly challenged, as we are massive contributors to the current climate ills. After all, industry is responsible for 20% of global CO2 emissions and more than a third of global energy consumption. </a:t>
            </a:r>
          </a:p>
          <a:p>
            <a:pPr rtl="0" fontAlgn="base"/>
            <a:r>
              <a:rPr lang="en-US" sz="1200" b="0" i="0" u="none" strike="noStrike" kern="1200" dirty="0">
                <a:solidFill>
                  <a:schemeClr val="tx1"/>
                </a:solidFill>
                <a:effectLst/>
                <a:latin typeface="+mn-lt"/>
                <a:ea typeface="+mn-ea"/>
                <a:cs typeface="+mn-cs"/>
              </a:rPr>
              <a:t>Because of this, it is critical for industry to identify new opportunities for decarbonization, and innovation to reduce energy consumption while getting the same job done. When looking at global waste, only 13% is recycled, making it imperative for industry to reduce their carbon footprint and transition towards a circular economy with the efficient use and re-use of material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D7A0"/>
                </a:solidFill>
                <a:effectLst/>
                <a:uLnTx/>
                <a:uFillTx/>
                <a:latin typeface="Arial"/>
                <a:ea typeface="+mn-ea"/>
                <a:cs typeface="+mn-cs"/>
              </a:rPr>
              <a:t>Notes</a:t>
            </a:r>
            <a:r>
              <a:rPr kumimoji="0" lang="en-US" sz="1050" b="0" i="0" u="none" strike="noStrike" kern="1200" cap="none" spc="0" normalizeH="0" baseline="0" noProof="0">
                <a:ln>
                  <a:noFill/>
                </a:ln>
                <a:solidFill>
                  <a:srgbClr val="000000"/>
                </a:solidFill>
                <a:effectLst/>
                <a:uLnTx/>
                <a:uFillTx/>
                <a:latin typeface="Arial"/>
                <a:ea typeface="+mn-ea"/>
                <a:cs typeface="+mn-cs"/>
              </a:rPr>
              <a:t> </a:t>
            </a:r>
            <a:fld id="{E76C657F-0E32-4130-ADDA-66B81138A76A}" type="slidenum">
              <a:rPr kumimoji="0" 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672667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7475" y="671513"/>
            <a:ext cx="6565900" cy="3694112"/>
          </a:xfrm>
        </p:spPr>
      </p:sp>
      <p:sp>
        <p:nvSpPr>
          <p:cNvPr id="3" name="Notizenplatzhalter 2"/>
          <p:cNvSpPr>
            <a:spLocks noGrp="1"/>
          </p:cNvSpPr>
          <p:nvPr>
            <p:ph type="body" idx="1"/>
          </p:nvPr>
        </p:nvSpPr>
        <p:spPr/>
        <p:txBody>
          <a:bodyPr/>
          <a:lstStyle/>
          <a:p>
            <a:pPr marL="171450" indent="-171450" algn="l" defTabSz="914126">
              <a:spcAft>
                <a:spcPts val="0"/>
              </a:spcAft>
              <a:buSzPct val="100000"/>
              <a:buFontTx/>
              <a:buChar char="-"/>
            </a:pPr>
            <a:r>
              <a:rPr lang="en-US" sz="1400" b="0" dirty="0">
                <a:solidFill>
                  <a:srgbClr val="000000">
                    <a:lumMod val="100000"/>
                  </a:srgbClr>
                </a:solidFill>
                <a:latin typeface="Arial" panose="020B0604020202020204" pitchFamily="34" charset="0"/>
              </a:rPr>
              <a:t>Our customers are facing increasing pressure.</a:t>
            </a:r>
          </a:p>
          <a:p>
            <a:pPr marL="171450" indent="-171450" algn="l" defTabSz="914126">
              <a:spcAft>
                <a:spcPts val="0"/>
              </a:spcAft>
              <a:buSzPct val="100000"/>
              <a:buFontTx/>
              <a:buChar char="-"/>
            </a:pPr>
            <a:r>
              <a:rPr lang="en-US" sz="1400" b="0" dirty="0">
                <a:solidFill>
                  <a:srgbClr val="000000">
                    <a:lumMod val="100000"/>
                  </a:srgbClr>
                </a:solidFill>
                <a:latin typeface="Arial" panose="020B0604020202020204" pitchFamily="34" charset="0"/>
              </a:rPr>
              <a:t>Many of their usual challenges are increasing more and more:</a:t>
            </a:r>
          </a:p>
          <a:p>
            <a:pPr marL="315450" lvl="1" indent="-171450" algn="l" defTabSz="914126">
              <a:spcAft>
                <a:spcPts val="0"/>
              </a:spcAft>
              <a:buSzPct val="100000"/>
              <a:buFont typeface="Arial" panose="020B0604020202020204" pitchFamily="34" charset="0"/>
              <a:buChar char="•"/>
            </a:pPr>
            <a:r>
              <a:rPr lang="en-US" sz="1400" b="0" dirty="0">
                <a:solidFill>
                  <a:srgbClr val="000000">
                    <a:lumMod val="100000"/>
                  </a:srgbClr>
                </a:solidFill>
                <a:latin typeface="Arial" panose="020B0604020202020204" pitchFamily="34" charset="0"/>
              </a:rPr>
              <a:t>Cost pressure, which mandates increase in efficiency for equipment and processes</a:t>
            </a:r>
          </a:p>
          <a:p>
            <a:pPr marL="315450" lvl="1" indent="-171450" algn="l" defTabSz="914126">
              <a:spcAft>
                <a:spcPts val="0"/>
              </a:spcAft>
              <a:buSzPct val="100000"/>
              <a:buFont typeface="Arial" panose="020B0604020202020204" pitchFamily="34" charset="0"/>
              <a:buChar char="•"/>
            </a:pPr>
            <a:r>
              <a:rPr lang="en-US" sz="1400" b="0" dirty="0">
                <a:solidFill>
                  <a:srgbClr val="000000">
                    <a:lumMod val="100000"/>
                  </a:srgbClr>
                </a:solidFill>
                <a:latin typeface="Arial" panose="020B0604020202020204" pitchFamily="34" charset="0"/>
              </a:rPr>
              <a:t>Faster innovation cycles, bringing new product ideas quickly into serial production</a:t>
            </a:r>
          </a:p>
          <a:p>
            <a:pPr marL="315450" lvl="1" indent="-171450" algn="l" defTabSz="914126">
              <a:spcAft>
                <a:spcPts val="0"/>
              </a:spcAft>
              <a:buSzPct val="100000"/>
              <a:buFont typeface="Arial" panose="020B0604020202020204" pitchFamily="34" charset="0"/>
              <a:buChar char="•"/>
            </a:pPr>
            <a:r>
              <a:rPr lang="en-US" sz="1400" b="0" dirty="0">
                <a:solidFill>
                  <a:srgbClr val="000000">
                    <a:lumMod val="100000"/>
                  </a:srgbClr>
                </a:solidFill>
                <a:latin typeface="Arial" panose="020B0604020202020204" pitchFamily="34" charset="0"/>
              </a:rPr>
              <a:t>Quality, quality of products</a:t>
            </a:r>
          </a:p>
          <a:p>
            <a:pPr marL="315450" lvl="1" indent="-171450" algn="l" defTabSz="914126">
              <a:spcAft>
                <a:spcPts val="0"/>
              </a:spcAft>
              <a:buSzPct val="100000"/>
              <a:buFont typeface="Arial" panose="020B0604020202020204" pitchFamily="34" charset="0"/>
              <a:buChar char="•"/>
            </a:pPr>
            <a:r>
              <a:rPr lang="en-US" sz="1400" b="0" dirty="0">
                <a:solidFill>
                  <a:srgbClr val="000000">
                    <a:lumMod val="100000"/>
                  </a:srgbClr>
                </a:solidFill>
                <a:latin typeface="Arial" panose="020B0604020202020204" pitchFamily="34" charset="0"/>
              </a:rPr>
              <a:t>Flexibility, in what and how customs produce, but also as a means to be more resilient</a:t>
            </a:r>
          </a:p>
          <a:p>
            <a:pPr marL="171450" indent="-171450" algn="l" defTabSz="914126">
              <a:spcAft>
                <a:spcPts val="0"/>
              </a:spcAft>
              <a:buSzPct val="100000"/>
              <a:buFontTx/>
              <a:buChar char="-"/>
            </a:pPr>
            <a:r>
              <a:rPr lang="en-US" sz="1400" b="1" dirty="0">
                <a:solidFill>
                  <a:srgbClr val="000000">
                    <a:lumMod val="100000"/>
                  </a:srgbClr>
                </a:solidFill>
                <a:latin typeface="Arial" panose="020B0604020202020204" pitchFamily="34" charset="0"/>
              </a:rPr>
              <a:t>And on top of this, there’s now also the pressing need for more sustainability and at the same time a growing lack of skilled workforce. </a:t>
            </a:r>
          </a:p>
          <a:p>
            <a:pPr marL="315450" marR="0" lvl="1" indent="-171450" algn="l" defTabSz="914126" rtl="0" eaLnBrk="1" fontAlgn="auto" latinLnBrk="0" hangingPunct="1">
              <a:spcBef>
                <a:spcPts val="0"/>
              </a:spcBef>
              <a:spcAft>
                <a:spcPts val="0"/>
              </a:spcAft>
              <a:buClr>
                <a:schemeClr val="accent1"/>
              </a:buClr>
              <a:buSzPct val="100000"/>
              <a:buFont typeface="Arial" panose="020B0604020202020204" pitchFamily="34" charset="0"/>
              <a:buChar char="•"/>
              <a:tabLst/>
              <a:defRPr/>
            </a:pPr>
            <a:r>
              <a:rPr lang="en-US" sz="1400" b="0" kern="1200" dirty="0">
                <a:solidFill>
                  <a:srgbClr val="000000">
                    <a:lumMod val="100000"/>
                  </a:srgbClr>
                </a:solidFill>
                <a:latin typeface="Arial" panose="020B0604020202020204" pitchFamily="34" charset="0"/>
                <a:ea typeface="+mn-ea"/>
                <a:cs typeface="+mn-cs"/>
              </a:rPr>
              <a:t>Sustainability, which became a license to operate – not a nice to have!</a:t>
            </a:r>
            <a:endParaRPr lang="en-US" sz="1400" b="1" dirty="0">
              <a:solidFill>
                <a:srgbClr val="000000">
                  <a:lumMod val="100000"/>
                </a:srgbClr>
              </a:solidFill>
              <a:latin typeface="Arial" panose="020B0604020202020204" pitchFamily="34" charset="0"/>
            </a:endParaRPr>
          </a:p>
          <a:p>
            <a:pPr marL="315450" marR="0" lvl="1" indent="-171450" algn="l" defTabSz="914126" rtl="0" eaLnBrk="1" fontAlgn="auto" latinLnBrk="0" hangingPunct="1">
              <a:spcBef>
                <a:spcPts val="0"/>
              </a:spcBef>
              <a:spcAft>
                <a:spcPts val="0"/>
              </a:spcAft>
              <a:buClr>
                <a:schemeClr val="accent1"/>
              </a:buClr>
              <a:buSzPct val="100000"/>
              <a:buFont typeface="Arial" panose="020B0604020202020204" pitchFamily="34" charset="0"/>
              <a:buChar char="•"/>
              <a:tabLst/>
              <a:defRPr/>
            </a:pPr>
            <a:r>
              <a:rPr lang="en-US" sz="1400" b="0" kern="1200" dirty="0">
                <a:solidFill>
                  <a:srgbClr val="000000">
                    <a:lumMod val="100000"/>
                  </a:srgbClr>
                </a:solidFill>
                <a:latin typeface="Arial" panose="020B0604020202020204" pitchFamily="34" charset="0"/>
                <a:ea typeface="+mn-ea"/>
                <a:cs typeface="+mn-cs"/>
              </a:rPr>
              <a:t>Lack of talent, with experienced staff retiring at a massive scale and not enough people available who have IT skills</a:t>
            </a:r>
          </a:p>
          <a:p>
            <a:pPr lvl="0">
              <a:buSzPts val="1000"/>
              <a:tabLst>
                <a:tab pos="457200" algn="l"/>
              </a:tabLst>
            </a:pPr>
            <a:endParaRPr lang="en-GB" sz="2000" dirty="0">
              <a:effectLst/>
              <a:latin typeface="Calibri" panose="020F0502020204030204" pitchFamily="34" charset="0"/>
              <a:ea typeface="Calibri" panose="020F0502020204030204" pitchFamily="34" charset="0"/>
            </a:endParaRPr>
          </a:p>
          <a:p>
            <a:endParaRPr lang="en-US" dirty="0"/>
          </a:p>
          <a:p>
            <a:endParaRPr lang="en-US" dirty="0"/>
          </a:p>
        </p:txBody>
      </p:sp>
      <p:sp>
        <p:nvSpPr>
          <p:cNvPr id="4" name="Foliennummernplatzhalt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7</a:t>
            </a:fld>
            <a:endParaRPr lang="en-US"/>
          </a:p>
        </p:txBody>
      </p:sp>
    </p:spTree>
    <p:extLst>
      <p:ext uri="{BB962C8B-B14F-4D97-AF65-F5344CB8AC3E}">
        <p14:creationId xmlns:p14="http://schemas.microsoft.com/office/powerpoint/2010/main" val="32941139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432FA446-2DB9-4849-9172-6AA3761687D6}" type="slidenum">
              <a:rPr lang="en-US" smtClean="0"/>
              <a:t>8</a:t>
            </a:fld>
            <a:endParaRPr lang="en-US"/>
          </a:p>
        </p:txBody>
      </p:sp>
    </p:spTree>
    <p:extLst>
      <p:ext uri="{BB962C8B-B14F-4D97-AF65-F5344CB8AC3E}">
        <p14:creationId xmlns:p14="http://schemas.microsoft.com/office/powerpoint/2010/main" val="10180016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0913" y="1049338"/>
            <a:ext cx="8988426" cy="5056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1147115">
              <a:defRPr/>
            </a:pPr>
            <a:r>
              <a:rPr lang="de-DE">
                <a:solidFill>
                  <a:srgbClr val="000000"/>
                </a:solidFill>
                <a:latin typeface="Arial" pitchFamily="34" charset="0"/>
              </a:rPr>
              <a:t>Notes </a:t>
            </a:r>
            <a:fld id="{AD141568-5488-4AC9-B82D-9F5CE1225E2A}" type="slidenum">
              <a:rPr lang="de-DE">
                <a:solidFill>
                  <a:srgbClr val="000000"/>
                </a:solidFill>
                <a:latin typeface="Arial" pitchFamily="34" charset="0"/>
              </a:rPr>
              <a:pPr defTabSz="1147115">
                <a:defRPr/>
              </a:pPr>
              <a:t>9</a:t>
            </a:fld>
            <a:endParaRPr lang="de-DE">
              <a:solidFill>
                <a:srgbClr val="000000"/>
              </a:solidFill>
              <a:latin typeface="Arial" pitchFamily="34" charset="0"/>
            </a:endParaRPr>
          </a:p>
        </p:txBody>
      </p:sp>
    </p:spTree>
    <p:extLst>
      <p:ext uri="{BB962C8B-B14F-4D97-AF65-F5344CB8AC3E}">
        <p14:creationId xmlns:p14="http://schemas.microsoft.com/office/powerpoint/2010/main" val="3371169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0913" y="1049338"/>
            <a:ext cx="8988426" cy="5056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1147115">
              <a:defRPr/>
            </a:pPr>
            <a:r>
              <a:rPr lang="de-DE">
                <a:solidFill>
                  <a:srgbClr val="000000"/>
                </a:solidFill>
                <a:latin typeface="Arial" pitchFamily="34" charset="0"/>
              </a:rPr>
              <a:t>Notes </a:t>
            </a:r>
            <a:fld id="{AD141568-5488-4AC9-B82D-9F5CE1225E2A}" type="slidenum">
              <a:rPr lang="de-DE">
                <a:solidFill>
                  <a:srgbClr val="000000"/>
                </a:solidFill>
                <a:latin typeface="Arial" pitchFamily="34" charset="0"/>
              </a:rPr>
              <a:pPr defTabSz="1147115">
                <a:defRPr/>
              </a:pPr>
              <a:t>10</a:t>
            </a:fld>
            <a:endParaRPr lang="de-DE">
              <a:solidFill>
                <a:srgbClr val="000000"/>
              </a:solidFill>
              <a:latin typeface="Arial" pitchFamily="34" charset="0"/>
            </a:endParaRPr>
          </a:p>
        </p:txBody>
      </p:sp>
    </p:spTree>
    <p:extLst>
      <p:ext uri="{BB962C8B-B14F-4D97-AF65-F5344CB8AC3E}">
        <p14:creationId xmlns:p14="http://schemas.microsoft.com/office/powerpoint/2010/main" val="4143633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0913" y="1049338"/>
            <a:ext cx="8988426" cy="5056187"/>
          </a:xfrm>
        </p:spPr>
      </p:sp>
      <p:sp>
        <p:nvSpPr>
          <p:cNvPr id="3" name="Notes Placeholder 2"/>
          <p:cNvSpPr>
            <a:spLocks noGrp="1"/>
          </p:cNvSpPr>
          <p:nvPr>
            <p:ph type="body" idx="1"/>
          </p:nvPr>
        </p:nvSpPr>
        <p:spPr/>
        <p:txBody>
          <a:bodyPr/>
          <a:lstStyle/>
          <a:p>
            <a:r>
              <a:rPr lang="en-US" sz="1800" b="1" dirty="0">
                <a:effectLst/>
                <a:latin typeface="Calibri" panose="020F0502020204030204" pitchFamily="34" charset="0"/>
                <a:ea typeface="Calibri" panose="020F0502020204030204" pitchFamily="34" charset="0"/>
              </a:rPr>
              <a:t>Explainable AI</a:t>
            </a:r>
            <a:r>
              <a:rPr lang="en-US" sz="1800" dirty="0">
                <a:effectLst/>
                <a:latin typeface="Calibri" panose="020F0502020204030204" pitchFamily="34" charset="0"/>
                <a:ea typeface="Calibri" panose="020F0502020204030204" pitchFamily="34" charset="0"/>
              </a:rPr>
              <a:t> </a:t>
            </a:r>
            <a:r>
              <a:rPr lang="nl-NL" sz="1800" dirty="0">
                <a:effectLst/>
                <a:latin typeface="Calibri" panose="020F0502020204030204" pitchFamily="34" charset="0"/>
                <a:ea typeface="Calibri" panose="020F0502020204030204" pitchFamily="34" charset="0"/>
              </a:rPr>
              <a:t>&gt;&gt; in de </a:t>
            </a:r>
            <a:r>
              <a:rPr lang="nl-NL" sz="1800" dirty="0" err="1">
                <a:effectLst/>
                <a:latin typeface="Calibri" panose="020F0502020204030204" pitchFamily="34" charset="0"/>
                <a:ea typeface="Calibri" panose="020F0502020204030204" pitchFamily="34" charset="0"/>
              </a:rPr>
              <a:t>industry</a:t>
            </a:r>
            <a:r>
              <a:rPr lang="nl-NL" sz="1800" dirty="0">
                <a:effectLst/>
                <a:latin typeface="Calibri" panose="020F0502020204030204" pitchFamily="34" charset="0"/>
                <a:ea typeface="Calibri" panose="020F0502020204030204" pitchFamily="34" charset="0"/>
              </a:rPr>
              <a:t> willen we graag weten hoe bepaalde beslissingen tot stand zijn gekomen. Wanneer we het begrijpen, kunnen we risico’s beter inschatten.</a:t>
            </a:r>
          </a:p>
          <a:p>
            <a:r>
              <a:rPr lang="nl-NL" sz="1800" dirty="0">
                <a:effectLst/>
                <a:latin typeface="Calibri" panose="020F0502020204030204" pitchFamily="34" charset="0"/>
                <a:ea typeface="Calibri" panose="020F0502020204030204" pitchFamily="34" charset="0"/>
              </a:rPr>
              <a:t> </a:t>
            </a:r>
          </a:p>
          <a:p>
            <a:r>
              <a:rPr lang="en-US" sz="1800" b="1" dirty="0">
                <a:effectLst/>
                <a:latin typeface="Calibri" panose="020F0502020204030204" pitchFamily="34" charset="0"/>
                <a:ea typeface="Calibri" panose="020F0502020204030204" pitchFamily="34" charset="0"/>
              </a:rPr>
              <a:t>Active Learning</a:t>
            </a:r>
            <a:r>
              <a:rPr lang="en-US" sz="1800" dirty="0">
                <a:effectLst/>
                <a:latin typeface="Calibri" panose="020F0502020204030204" pitchFamily="34" charset="0"/>
                <a:ea typeface="Calibri" panose="020F0502020204030204" pitchFamily="34" charset="0"/>
              </a:rPr>
              <a:t> </a:t>
            </a:r>
            <a:r>
              <a:rPr lang="nl-NL" sz="1800" dirty="0">
                <a:effectLst/>
                <a:latin typeface="Calibri" panose="020F0502020204030204" pitchFamily="34" charset="0"/>
                <a:ea typeface="Calibri" panose="020F0502020204030204" pitchFamily="34" charset="0"/>
              </a:rPr>
              <a:t>&gt;&gt; AI moet leren van de kennis van domein experts. Daarom zal AI in </a:t>
            </a:r>
            <a:r>
              <a:rPr lang="nl-NL" sz="1800" dirty="0" err="1">
                <a:effectLst/>
                <a:latin typeface="Calibri" panose="020F0502020204030204" pitchFamily="34" charset="0"/>
                <a:ea typeface="Calibri" panose="020F0502020204030204" pitchFamily="34" charset="0"/>
              </a:rPr>
              <a:t>industry</a:t>
            </a:r>
            <a:r>
              <a:rPr lang="nl-NL" sz="1800" dirty="0">
                <a:effectLst/>
                <a:latin typeface="Calibri" panose="020F0502020204030204" pitchFamily="34" charset="0"/>
                <a:ea typeface="Calibri" panose="020F0502020204030204" pitchFamily="34" charset="0"/>
              </a:rPr>
              <a:t> vaker aanbevelingen doen, die dan door een operator/domein expert moet worden </a:t>
            </a:r>
            <a:r>
              <a:rPr lang="nl-NL" sz="1800" dirty="0" err="1">
                <a:effectLst/>
                <a:latin typeface="Calibri" panose="020F0502020204030204" pitchFamily="34" charset="0"/>
                <a:ea typeface="Calibri" panose="020F0502020204030204" pitchFamily="34" charset="0"/>
              </a:rPr>
              <a:t>bestigd</a:t>
            </a:r>
            <a:r>
              <a:rPr lang="nl-NL" sz="1800" dirty="0">
                <a:effectLst/>
                <a:latin typeface="Calibri" panose="020F0502020204030204" pitchFamily="34" charset="0"/>
                <a:ea typeface="Calibri" panose="020F0502020204030204" pitchFamily="34" charset="0"/>
              </a:rPr>
              <a:t>. Hiervan leert het AI model dan weer.</a:t>
            </a:r>
          </a:p>
          <a:p>
            <a:r>
              <a:rPr lang="nl-NL" sz="1800" dirty="0">
                <a:effectLst/>
                <a:latin typeface="Calibri" panose="020F0502020204030204" pitchFamily="34" charset="0"/>
                <a:ea typeface="Calibri" panose="020F0502020204030204" pitchFamily="34" charset="0"/>
              </a:rPr>
              <a:t> </a:t>
            </a:r>
          </a:p>
          <a:p>
            <a:r>
              <a:rPr lang="en-US" sz="1800" b="1" dirty="0">
                <a:effectLst/>
                <a:latin typeface="Calibri" panose="020F0502020204030204" pitchFamily="34" charset="0"/>
                <a:ea typeface="Calibri" panose="020F0502020204030204" pitchFamily="34" charset="0"/>
              </a:rPr>
              <a:t>Trustworthy AI</a:t>
            </a:r>
            <a:r>
              <a:rPr lang="en-US" sz="1800" dirty="0">
                <a:effectLst/>
                <a:latin typeface="Calibri" panose="020F0502020204030204" pitchFamily="34" charset="0"/>
                <a:ea typeface="Calibri" panose="020F0502020204030204" pitchFamily="34" charset="0"/>
              </a:rPr>
              <a:t> </a:t>
            </a:r>
            <a:r>
              <a:rPr lang="nl-NL" sz="1800" dirty="0">
                <a:effectLst/>
                <a:latin typeface="Calibri" panose="020F0502020204030204" pitchFamily="34" charset="0"/>
                <a:ea typeface="Calibri" panose="020F0502020204030204" pitchFamily="34" charset="0"/>
              </a:rPr>
              <a:t>&gt;&gt; AI moet steeds worden </a:t>
            </a:r>
            <a:r>
              <a:rPr lang="nl-NL" sz="1800" dirty="0" err="1">
                <a:effectLst/>
                <a:latin typeface="Calibri" panose="020F0502020204030204" pitchFamily="34" charset="0"/>
                <a:ea typeface="Calibri" panose="020F0502020204030204" pitchFamily="34" charset="0"/>
              </a:rPr>
              <a:t>gemonitored</a:t>
            </a:r>
            <a:r>
              <a:rPr lang="nl-NL" sz="1800" dirty="0">
                <a:effectLst/>
                <a:latin typeface="Calibri" panose="020F0502020204030204" pitchFamily="34" charset="0"/>
                <a:ea typeface="Calibri" panose="020F0502020204030204" pitchFamily="34" charset="0"/>
              </a:rPr>
              <a:t> om te bepalen of het model nog voldoet. De omstandigheden kunnen zijn veranderd zodat het AI model niet meer naar behoren functioneert.</a:t>
            </a:r>
          </a:p>
          <a:p>
            <a:r>
              <a:rPr lang="nl-NL" sz="1800" dirty="0">
                <a:effectLst/>
                <a:latin typeface="Calibri" panose="020F0502020204030204" pitchFamily="34" charset="0"/>
                <a:ea typeface="Calibri" panose="020F0502020204030204" pitchFamily="34" charset="0"/>
              </a:rPr>
              <a:t> </a:t>
            </a:r>
          </a:p>
          <a:p>
            <a:r>
              <a:rPr lang="en-US" sz="1800" b="1" dirty="0">
                <a:effectLst/>
                <a:latin typeface="Calibri" panose="020F0502020204030204" pitchFamily="34" charset="0"/>
                <a:ea typeface="Calibri" panose="020F0502020204030204" pitchFamily="34" charset="0"/>
              </a:rPr>
              <a:t>Federated Learning</a:t>
            </a:r>
            <a:r>
              <a:rPr lang="en-US" sz="1800" dirty="0">
                <a:effectLst/>
                <a:latin typeface="Calibri" panose="020F0502020204030204" pitchFamily="34" charset="0"/>
                <a:ea typeface="Calibri" panose="020F0502020204030204" pitchFamily="34" charset="0"/>
              </a:rPr>
              <a:t> </a:t>
            </a:r>
            <a:r>
              <a:rPr lang="nl-NL" sz="1800" dirty="0">
                <a:effectLst/>
                <a:latin typeface="Calibri" panose="020F0502020204030204" pitchFamily="34" charset="0"/>
                <a:ea typeface="Calibri" panose="020F0502020204030204" pitchFamily="34" charset="0"/>
              </a:rPr>
              <a:t>&gt;&gt; een AI model kan beter worden getraind wanneer het data krijgt van een groot aantal verschillende bronnen, liefst van verschillende bedrijven. Dan kom je wel bij het vraagstuk: van wie is de data, waarvoor mag de data worden gebruikt en wie is dan uiteindelijk de eigenaar van het getrainde model</a:t>
            </a:r>
          </a:p>
          <a:p>
            <a:r>
              <a:rPr lang="nl-NL" sz="1800" dirty="0">
                <a:effectLst/>
                <a:latin typeface="Calibri" panose="020F0502020204030204" pitchFamily="34" charset="0"/>
                <a:ea typeface="Calibri" panose="020F0502020204030204" pitchFamily="34" charset="0"/>
              </a:rPr>
              <a:t> </a:t>
            </a:r>
          </a:p>
          <a:p>
            <a:r>
              <a:rPr lang="en-US" sz="1800" b="1" dirty="0">
                <a:effectLst/>
                <a:latin typeface="Calibri" panose="020F0502020204030204" pitchFamily="34" charset="0"/>
                <a:ea typeface="Calibri" panose="020F0502020204030204" pitchFamily="34" charset="0"/>
              </a:rPr>
              <a:t>Differential Privacy </a:t>
            </a:r>
            <a:r>
              <a:rPr lang="nl-NL" sz="1800" dirty="0">
                <a:effectLst/>
                <a:latin typeface="Calibri" panose="020F0502020204030204" pitchFamily="34" charset="0"/>
                <a:ea typeface="Calibri" panose="020F0502020204030204" pitchFamily="34" charset="0"/>
              </a:rPr>
              <a:t>&gt;&gt; data mag niet terug te voeren zijn op individuele personen. Daarvoor zijn er technieken om data te anonimiseren en privacy van personen te waarborgen.</a:t>
            </a:r>
          </a:p>
          <a:p>
            <a:endParaRPr lang="en-US" dirty="0"/>
          </a:p>
        </p:txBody>
      </p:sp>
      <p:sp>
        <p:nvSpPr>
          <p:cNvPr id="4" name="Slide Number Placeholder 3"/>
          <p:cNvSpPr>
            <a:spLocks noGrp="1"/>
          </p:cNvSpPr>
          <p:nvPr>
            <p:ph type="sldNum" sz="quarter" idx="10"/>
          </p:nvPr>
        </p:nvSpPr>
        <p:spPr/>
        <p:txBody>
          <a:bodyPr/>
          <a:lstStyle/>
          <a:p>
            <a:pPr defTabSz="1147115">
              <a:defRPr/>
            </a:pPr>
            <a:r>
              <a:rPr lang="de-DE">
                <a:solidFill>
                  <a:srgbClr val="000000"/>
                </a:solidFill>
                <a:latin typeface="Arial" pitchFamily="34" charset="0"/>
              </a:rPr>
              <a:t>Notes </a:t>
            </a:r>
            <a:fld id="{AD141568-5488-4AC9-B82D-9F5CE1225E2A}" type="slidenum">
              <a:rPr lang="de-DE">
                <a:solidFill>
                  <a:srgbClr val="000000"/>
                </a:solidFill>
                <a:latin typeface="Arial" pitchFamily="34" charset="0"/>
              </a:rPr>
              <a:pPr defTabSz="1147115">
                <a:defRPr/>
              </a:pPr>
              <a:t>11</a:t>
            </a:fld>
            <a:endParaRPr lang="de-DE">
              <a:solidFill>
                <a:srgbClr val="000000"/>
              </a:solidFill>
              <a:latin typeface="Arial" pitchFamily="34" charset="0"/>
            </a:endParaRPr>
          </a:p>
        </p:txBody>
      </p:sp>
    </p:spTree>
    <p:extLst>
      <p:ext uri="{BB962C8B-B14F-4D97-AF65-F5344CB8AC3E}">
        <p14:creationId xmlns:p14="http://schemas.microsoft.com/office/powerpoint/2010/main" val="12998726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sv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1.sv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sv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1.sv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jpeg"/><Relationship Id="rId1" Type="http://schemas.openxmlformats.org/officeDocument/2006/relationships/slideMaster" Target="../slideMasters/slideMaster5.xml"/><Relationship Id="rId4" Type="http://schemas.openxmlformats.org/officeDocument/2006/relationships/image" Target="../media/image22.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6.jpe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jpe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1.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2.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customXml" Target="../../customXml/item4.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32.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30.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4" Type="http://schemas.openxmlformats.org/officeDocument/2006/relationships/image" Target="../media/image33.jpeg"/></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tags" Target="../tags/tag39.xml"/><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1.svg"/></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4"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4"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customXml" Target="../../customXml/item2.xml"/><Relationship Id="rId6" Type="http://schemas.openxmlformats.org/officeDocument/2006/relationships/slideMaster" Target="../slideMasters/slideMaster2.xml"/><Relationship Id="rId5" Type="http://schemas.openxmlformats.org/officeDocument/2006/relationships/tags" Target="../tags/tag53.xml"/><Relationship Id="rId4" Type="http://schemas.openxmlformats.org/officeDocument/2006/relationships/tags" Target="../tags/tag52.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customXml" Target="../../customXml/item18.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Master" Target="../slideMasters/slideMaster2.xml"/><Relationship Id="rId1" Type="http://schemas.openxmlformats.org/officeDocument/2006/relationships/tags" Target="../tags/tag56.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7.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customXml" Target="../../customXml/item11.xml"/><Relationship Id="rId5" Type="http://schemas.openxmlformats.org/officeDocument/2006/relationships/slideMaster" Target="../slideMasters/slideMaster2.xml"/><Relationship Id="rId4" Type="http://schemas.openxmlformats.org/officeDocument/2006/relationships/tags" Target="../tags/tag61.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30.emf"/><Relationship Id="rId3" Type="http://schemas.openxmlformats.org/officeDocument/2006/relationships/tags" Target="../tags/tag63.xml"/><Relationship Id="rId7" Type="http://schemas.openxmlformats.org/officeDocument/2006/relationships/oleObject" Target="../embeddings/oleObject3.bin"/><Relationship Id="rId2" Type="http://schemas.openxmlformats.org/officeDocument/2006/relationships/tags" Target="../tags/tag62.xml"/><Relationship Id="rId1" Type="http://schemas.openxmlformats.org/officeDocument/2006/relationships/customXml" Target="../../customXml/item9.xml"/><Relationship Id="rId6" Type="http://schemas.openxmlformats.org/officeDocument/2006/relationships/slideMaster" Target="../slideMasters/slideMaster2.xml"/><Relationship Id="rId5" Type="http://schemas.openxmlformats.org/officeDocument/2006/relationships/tags" Target="../tags/tag65.xml"/><Relationship Id="rId4" Type="http://schemas.openxmlformats.org/officeDocument/2006/relationships/tags" Target="../tags/tag64.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customXml" Target="../../customXml/item6.xml"/><Relationship Id="rId5" Type="http://schemas.openxmlformats.org/officeDocument/2006/relationships/slideMaster" Target="../slideMasters/slideMaster2.xml"/><Relationship Id="rId4" Type="http://schemas.openxmlformats.org/officeDocument/2006/relationships/tags" Target="../tags/tag68.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customXml" Target="../../customXml/item3.xml"/><Relationship Id="rId6" Type="http://schemas.openxmlformats.org/officeDocument/2006/relationships/slideMaster" Target="../slideMasters/slideMaster2.xml"/><Relationship Id="rId5" Type="http://schemas.openxmlformats.org/officeDocument/2006/relationships/tags" Target="../tags/tag76.xml"/><Relationship Id="rId4" Type="http://schemas.openxmlformats.org/officeDocument/2006/relationships/tags" Target="../tags/tag75.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customXml" Target="../../customXml/item13.xml"/><Relationship Id="rId6" Type="http://schemas.openxmlformats.org/officeDocument/2006/relationships/tags" Target="../tags/tag81.xml"/><Relationship Id="rId5" Type="http://schemas.openxmlformats.org/officeDocument/2006/relationships/tags" Target="../tags/tag80.xml"/><Relationship Id="rId4" Type="http://schemas.openxmlformats.org/officeDocument/2006/relationships/tags" Target="../tags/tag79.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customXml" Target="../../customXml/item16.xml"/><Relationship Id="rId6" Type="http://schemas.openxmlformats.org/officeDocument/2006/relationships/tags" Target="../tags/tag86.xml"/><Relationship Id="rId5" Type="http://schemas.openxmlformats.org/officeDocument/2006/relationships/tags" Target="../tags/tag85.xml"/><Relationship Id="rId4" Type="http://schemas.openxmlformats.org/officeDocument/2006/relationships/tags" Target="../tags/tag84.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customXml" Target="../../customXml/item10.xml"/><Relationship Id="rId5" Type="http://schemas.openxmlformats.org/officeDocument/2006/relationships/slideMaster" Target="../slideMasters/slideMaster2.xml"/><Relationship Id="rId4" Type="http://schemas.openxmlformats.org/officeDocument/2006/relationships/tags" Target="../tags/tag89.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customXml" Target="../../customXml/item5.xml"/><Relationship Id="rId5" Type="http://schemas.openxmlformats.org/officeDocument/2006/relationships/slideMaster" Target="../slideMasters/slideMaster2.xml"/><Relationship Id="rId4" Type="http://schemas.openxmlformats.org/officeDocument/2006/relationships/tags" Target="../tags/tag9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customXml" Target="../../customXml/item20.xml"/><Relationship Id="rId5" Type="http://schemas.openxmlformats.org/officeDocument/2006/relationships/slideMaster" Target="../slideMasters/slideMaster2.xml"/><Relationship Id="rId4" Type="http://schemas.openxmlformats.org/officeDocument/2006/relationships/tags" Target="../tags/tag95.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customXml" Target="../../customXml/item14.xml"/><Relationship Id="rId6" Type="http://schemas.openxmlformats.org/officeDocument/2006/relationships/slideMaster" Target="../slideMasters/slideMaster2.xml"/><Relationship Id="rId5" Type="http://schemas.openxmlformats.org/officeDocument/2006/relationships/tags" Target="../tags/tag99.xml"/><Relationship Id="rId4" Type="http://schemas.openxmlformats.org/officeDocument/2006/relationships/tags" Target="../tags/tag98.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customXml" Target="../../customXml/item17.xml"/><Relationship Id="rId6" Type="http://schemas.openxmlformats.org/officeDocument/2006/relationships/tags" Target="../tags/tag104.xml"/><Relationship Id="rId5" Type="http://schemas.openxmlformats.org/officeDocument/2006/relationships/tags" Target="../tags/tag103.xml"/><Relationship Id="rId4" Type="http://schemas.openxmlformats.org/officeDocument/2006/relationships/tags" Target="../tags/tag102.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customXml" Target="../../customXml/item7.xml"/><Relationship Id="rId6" Type="http://schemas.openxmlformats.org/officeDocument/2006/relationships/slideMaster" Target="../slideMasters/slideMaster2.xml"/><Relationship Id="rId5" Type="http://schemas.openxmlformats.org/officeDocument/2006/relationships/tags" Target="../tags/tag108.xml"/><Relationship Id="rId4" Type="http://schemas.openxmlformats.org/officeDocument/2006/relationships/tags" Target="../tags/tag107.xml"/></Relationships>
</file>

<file path=ppt/slideLayouts/_rels/slideLayout8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10.xml"/><Relationship Id="rId7" Type="http://schemas.openxmlformats.org/officeDocument/2006/relationships/tags" Target="../tags/tag114.xml"/><Relationship Id="rId2" Type="http://schemas.openxmlformats.org/officeDocument/2006/relationships/tags" Target="../tags/tag109.xml"/><Relationship Id="rId1" Type="http://schemas.openxmlformats.org/officeDocument/2006/relationships/customXml" Target="../../customXml/item15.xml"/><Relationship Id="rId6" Type="http://schemas.openxmlformats.org/officeDocument/2006/relationships/tags" Target="../tags/tag113.xml"/><Relationship Id="rId5" Type="http://schemas.openxmlformats.org/officeDocument/2006/relationships/tags" Target="../tags/tag112.xml"/><Relationship Id="rId4" Type="http://schemas.openxmlformats.org/officeDocument/2006/relationships/tags" Target="../tags/tag1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6.xml"/><Relationship Id="rId1" Type="http://schemas.openxmlformats.org/officeDocument/2006/relationships/tags" Target="../tags/tag11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5.jpeg"/><Relationship Id="rId1" Type="http://schemas.openxmlformats.org/officeDocument/2006/relationships/slideMaster" Target="../slideMasters/slideMaster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8.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pic>
        <p:nvPicPr>
          <p:cNvPr id="6" name="Cognisphere" descr="A picture containing fireworks, star, table, sky&#10;&#10;Description automatically generated">
            <a:extLst>
              <a:ext uri="{FF2B5EF4-FFF2-40B4-BE49-F238E27FC236}">
                <a16:creationId xmlns:a16="http://schemas.microsoft.com/office/drawing/2014/main" id="{591CD5A4-BDEB-4734-8FA5-5C3B4A08A49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a:t>Click to edit Master title style 8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Restricted | © Siemens 20XX | Author | Department | YYYY-MM-DD</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7862535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icture light 48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a:t>Click to edit </a:t>
            </a:r>
            <a:br>
              <a:rPr lang="en-US"/>
            </a:br>
            <a:r>
              <a:rPr lang="en-US"/>
              <a:t>Master title style 48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48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Restricted | © Siemens 20XX | Author | Department | YYYY-MM-DD</a:t>
            </a:r>
          </a:p>
        </p:txBody>
      </p:sp>
      <p:pic>
        <p:nvPicPr>
          <p:cNvPr id="9" name="Siemens Logo">
            <a:extLst>
              <a:ext uri="{FF2B5EF4-FFF2-40B4-BE49-F238E27FC236}">
                <a16:creationId xmlns:a16="http://schemas.microsoft.com/office/drawing/2014/main" id="{46D369A7-07BD-4B91-9E53-807AAAF0C30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343283917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Deep Blue 60pt">
    <p:bg>
      <p:bgRef idx="1001">
        <a:schemeClr val="bg2"/>
      </p:bgRef>
    </p:bg>
    <p:spTree>
      <p:nvGrpSpPr>
        <p:cNvPr id="1" name=""/>
        <p:cNvGrpSpPr/>
        <p:nvPr/>
      </p:nvGrpSpPr>
      <p:grpSpPr>
        <a:xfrm>
          <a:off x="0" y="0"/>
          <a:ext cx="0" cy="0"/>
          <a:chOff x="0" y="0"/>
          <a:chExt cx="0" cy="0"/>
        </a:xfrm>
      </p:grpSpPr>
      <p:pic>
        <p:nvPicPr>
          <p:cNvPr id="7" name="Cognisphere" descr="A close up of a light&#10;&#10;Description automatically generated">
            <a:extLst>
              <a:ext uri="{FF2B5EF4-FFF2-40B4-BE49-F238E27FC236}">
                <a16:creationId xmlns:a16="http://schemas.microsoft.com/office/drawing/2014/main" id="{F50DEF7C-D243-494F-A738-41FC9AF515A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a:t>Click to edit </a:t>
            </a:r>
            <a:br>
              <a:rPr lang="en-US"/>
            </a:br>
            <a:r>
              <a:rPr lang="en-US"/>
              <a:t>Master title style</a:t>
            </a:r>
            <a:br>
              <a:rPr lang="en-US"/>
            </a:br>
            <a:r>
              <a:rPr lang="en-US"/>
              <a:t>M3 lines 6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2"/>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1418198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Deep Blue 40pt">
    <p:bg>
      <p:bgRef idx="1001">
        <a:schemeClr val="bg2"/>
      </p:bgRef>
    </p:bg>
    <p:spTree>
      <p:nvGrpSpPr>
        <p:cNvPr id="1" name=""/>
        <p:cNvGrpSpPr/>
        <p:nvPr/>
      </p:nvGrpSpPr>
      <p:grpSpPr>
        <a:xfrm>
          <a:off x="0" y="0"/>
          <a:ext cx="0" cy="0"/>
          <a:chOff x="0" y="0"/>
          <a:chExt cx="0" cy="0"/>
        </a:xfrm>
      </p:grpSpPr>
      <p:pic>
        <p:nvPicPr>
          <p:cNvPr id="7" name="Cognisphere" descr="A picture containing light, star&#10;&#10;Description automatically generated">
            <a:extLst>
              <a:ext uri="{FF2B5EF4-FFF2-40B4-BE49-F238E27FC236}">
                <a16:creationId xmlns:a16="http://schemas.microsoft.com/office/drawing/2014/main" id="{AA220E05-4C1E-4F58-BFC0-57C07A95F70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a:t>Click to edit </a:t>
            </a:r>
            <a:br>
              <a:rPr lang="en-US"/>
            </a:br>
            <a:r>
              <a:rPr lang="en-US"/>
              <a:t>Master title style</a:t>
            </a:r>
            <a:br>
              <a:rPr lang="en-US"/>
            </a:br>
            <a:r>
              <a:rPr lang="en-US"/>
              <a:t>extra long headlines</a:t>
            </a:r>
            <a:br>
              <a:rPr lang="en-US"/>
            </a:br>
            <a:r>
              <a:rPr lang="en-US"/>
              <a:t>4 lines 4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94250938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Gradient DB–Petrol 8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7" name="Cognisphere" descr="Background pattern&#10;&#10;Description automatically generated">
            <a:extLst>
              <a:ext uri="{FF2B5EF4-FFF2-40B4-BE49-F238E27FC236}">
                <a16:creationId xmlns:a16="http://schemas.microsoft.com/office/drawing/2014/main" id="{70837433-2C09-4518-AF0D-697A97CAC3A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a:t>Click to edit Master title style 8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80 </a:t>
            </a:r>
            <a:r>
              <a:rPr lang="en-US" err="1"/>
              <a:t>pt</a:t>
            </a:r>
            <a:endParaRPr lang="en-US"/>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6611741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Gradient DB–Petrol 6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6" name="Cognisphere" descr="Background pattern&#10;&#10;Description automatically generated">
            <a:extLst>
              <a:ext uri="{FF2B5EF4-FFF2-40B4-BE49-F238E27FC236}">
                <a16:creationId xmlns:a16="http://schemas.microsoft.com/office/drawing/2014/main" id="{DF3DAF0E-BB8A-4082-8CE7-1BBCE61C8CD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a:t>Click to edit </a:t>
            </a:r>
            <a:br>
              <a:rPr lang="en-US"/>
            </a:br>
            <a:r>
              <a:rPr lang="en-US"/>
              <a:t>Master title style</a:t>
            </a:r>
            <a:br>
              <a:rPr lang="en-US"/>
            </a:br>
            <a:r>
              <a:rPr lang="en-US"/>
              <a:t>3 lines 6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1"/>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6449945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Gradient DB–Petrol 4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6" name="Cognisphere" descr="A picture containing background pattern&#10;&#10;Description automatically generated">
            <a:extLst>
              <a:ext uri="{FF2B5EF4-FFF2-40B4-BE49-F238E27FC236}">
                <a16:creationId xmlns:a16="http://schemas.microsoft.com/office/drawing/2014/main" id="{DE598EC2-770B-4F85-A209-57F0E77094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a:t>Click to edit </a:t>
            </a:r>
            <a:br>
              <a:rPr lang="en-US"/>
            </a:br>
            <a:r>
              <a:rPr lang="en-US"/>
              <a:t>Master title style</a:t>
            </a:r>
            <a:br>
              <a:rPr lang="en-US"/>
            </a:br>
            <a:r>
              <a:rPr lang="en-US"/>
              <a:t>extra long headlines</a:t>
            </a:r>
            <a:br>
              <a:rPr lang="en-US"/>
            </a:br>
            <a:r>
              <a:rPr lang="en-US"/>
              <a:t>4 lines 4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871212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picture dark 48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a:t>Click to edit </a:t>
            </a:r>
            <a:br>
              <a:rPr lang="en-US"/>
            </a:br>
            <a:r>
              <a:rPr lang="en-US"/>
              <a:t>Master title style 48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48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2910939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picture dark 40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a:t>Click to edit </a:t>
            </a:r>
            <a:br>
              <a:rPr lang="en-US"/>
            </a:br>
            <a:r>
              <a:rPr lang="en-US"/>
              <a:t>Master title style 4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40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7784971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picture dark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a:t>Click to edit </a:t>
            </a:r>
            <a:br>
              <a:rPr lang="en-US"/>
            </a:br>
            <a:r>
              <a:rPr lang="en-US"/>
              <a:t>Master title style </a:t>
            </a:r>
            <a:br>
              <a:rPr lang="en-US"/>
            </a:br>
            <a:r>
              <a:rPr lang="en-US"/>
              <a:t>36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36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6183352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picture light 48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a:t>Click to edit </a:t>
            </a:r>
            <a:br>
              <a:rPr lang="en-US"/>
            </a:br>
            <a:r>
              <a:rPr lang="en-US"/>
              <a:t>Master title style 48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48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9" name="Siemens Logo">
            <a:extLst>
              <a:ext uri="{FF2B5EF4-FFF2-40B4-BE49-F238E27FC236}">
                <a16:creationId xmlns:a16="http://schemas.microsoft.com/office/drawing/2014/main" id="{46D369A7-07BD-4B91-9E53-807AAAF0C30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19868229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picture light 40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a:t>Click to edit </a:t>
            </a:r>
            <a:br>
              <a:rPr lang="en-US"/>
            </a:br>
            <a:r>
              <a:rPr lang="en-US"/>
              <a:t>Master title style 4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40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9" name="Siemens Logo">
            <a:extLst>
              <a:ext uri="{FF2B5EF4-FFF2-40B4-BE49-F238E27FC236}">
                <a16:creationId xmlns:a16="http://schemas.microsoft.com/office/drawing/2014/main" id="{DC2D4109-C5C2-42BB-B5A0-2F6793388E2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42549380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picture light 40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a:t>Click to edit </a:t>
            </a:r>
            <a:br>
              <a:rPr lang="en-US"/>
            </a:br>
            <a:r>
              <a:rPr lang="en-US"/>
              <a:t>Master title style 4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40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Restricted | © Siemens 20XX | Author | Department | YYYY-MM-DD</a:t>
            </a:r>
          </a:p>
        </p:txBody>
      </p:sp>
      <p:pic>
        <p:nvPicPr>
          <p:cNvPr id="9" name="Siemens Logo">
            <a:extLst>
              <a:ext uri="{FF2B5EF4-FFF2-40B4-BE49-F238E27FC236}">
                <a16:creationId xmlns:a16="http://schemas.microsoft.com/office/drawing/2014/main" id="{DC2D4109-C5C2-42BB-B5A0-2F6793388E2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20145223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picture light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a:t>Click to edit </a:t>
            </a:r>
            <a:br>
              <a:rPr lang="en-US"/>
            </a:br>
            <a:r>
              <a:rPr lang="en-US"/>
              <a:t>Master title style </a:t>
            </a:r>
            <a:br>
              <a:rPr lang="en-US"/>
            </a:br>
            <a:r>
              <a:rPr lang="en-US"/>
              <a:t>36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36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9" name="Siemens Logo">
            <a:extLst>
              <a:ext uri="{FF2B5EF4-FFF2-40B4-BE49-F238E27FC236}">
                <a16:creationId xmlns:a16="http://schemas.microsoft.com/office/drawing/2014/main" id="{298AE3DB-A74B-4AD6-A37C-FBCFB647B93F}"/>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412468431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picture Gradient 48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a:t>Click to edit </a:t>
            </a:r>
            <a:br>
              <a:rPr lang="en-US"/>
            </a:br>
            <a:r>
              <a:rPr lang="en-US"/>
              <a:t>Master title style 48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48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58424923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picture Gradient 40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a:t>Click to edit </a:t>
            </a:r>
            <a:br>
              <a:rPr lang="en-US"/>
            </a:br>
            <a:r>
              <a:rPr lang="en-US"/>
              <a:t>Master title style 4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40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55133111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picture Gradient 36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a:t>Click to edit </a:t>
            </a:r>
            <a:br>
              <a:rPr lang="en-US"/>
            </a:br>
            <a:r>
              <a:rPr lang="en-US"/>
              <a:t>Master title style </a:t>
            </a:r>
            <a:br>
              <a:rPr lang="en-US"/>
            </a:br>
            <a:r>
              <a:rPr lang="en-US"/>
              <a:t>36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36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0351213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picture Gradient 90° 48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a:t>Click to edit </a:t>
            </a:r>
            <a:br>
              <a:rPr lang="en-US"/>
            </a:br>
            <a:r>
              <a:rPr lang="en-US"/>
              <a:t>Master title style 48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48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53944941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picture Gradient 90° 40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a:t>Click to edit </a:t>
            </a:r>
            <a:br>
              <a:rPr lang="en-US"/>
            </a:br>
            <a:r>
              <a:rPr lang="en-US"/>
              <a:t>Master title style 4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40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4336078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picture Gradient 90° 36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a:t>Click to edit </a:t>
            </a:r>
            <a:br>
              <a:rPr lang="en-US"/>
            </a:br>
            <a:r>
              <a:rPr lang="en-US"/>
              <a:t>Master title style </a:t>
            </a:r>
            <a:br>
              <a:rPr lang="en-US"/>
            </a:br>
            <a:r>
              <a:rPr lang="en-US"/>
              <a:t>36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line for headline size 36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56471028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picture Gradient Green 48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a:t>Click to edit </a:t>
            </a:r>
            <a:br>
              <a:rPr lang="en-US"/>
            </a:br>
            <a:r>
              <a:rPr lang="en-US"/>
              <a:t>Master title style 48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48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2925205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picture Gradient Green 40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a:t>Click to edit </a:t>
            </a:r>
            <a:br>
              <a:rPr lang="en-US"/>
            </a:br>
            <a:r>
              <a:rPr lang="en-US"/>
              <a:t>Master title style 4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40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56744215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picture Gradient Green 36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a:t>Click to edit </a:t>
            </a:r>
            <a:br>
              <a:rPr lang="en-US"/>
            </a:br>
            <a:r>
              <a:rPr lang="en-US"/>
              <a:t>Master title style </a:t>
            </a:r>
            <a:br>
              <a:rPr lang="en-US"/>
            </a:br>
            <a:r>
              <a:rPr lang="en-US"/>
              <a:t>36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36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1432419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picture light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a:t>Click to edit </a:t>
            </a:r>
            <a:br>
              <a:rPr lang="en-US"/>
            </a:br>
            <a:r>
              <a:rPr lang="en-US"/>
              <a:t>Master title style </a:t>
            </a:r>
            <a:br>
              <a:rPr lang="en-US"/>
            </a:br>
            <a:r>
              <a:rPr lang="en-US"/>
              <a:t>36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36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Restricted | © Siemens 20XX | Author | Department | YYYY-MM-DD</a:t>
            </a:r>
          </a:p>
        </p:txBody>
      </p:sp>
      <p:pic>
        <p:nvPicPr>
          <p:cNvPr id="9" name="Siemens Logo">
            <a:extLst>
              <a:ext uri="{FF2B5EF4-FFF2-40B4-BE49-F238E27FC236}">
                <a16:creationId xmlns:a16="http://schemas.microsoft.com/office/drawing/2014/main" id="{298AE3DB-A74B-4AD6-A37C-FBCFB647B93F}"/>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27297483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picture Gradient Blue 48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a:t>Click to edit </a:t>
            </a:r>
            <a:br>
              <a:rPr lang="en-US"/>
            </a:br>
            <a:r>
              <a:rPr lang="en-US"/>
              <a:t>Master title style 48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48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04245251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picture Gradient Blue 40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a:t>Click to edit </a:t>
            </a:r>
            <a:br>
              <a:rPr lang="en-US"/>
            </a:br>
            <a:r>
              <a:rPr lang="en-US"/>
              <a:t>Master title style 4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40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6140614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picture Gradient Blue 36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a:t>Click to edit </a:t>
            </a:r>
            <a:br>
              <a:rPr lang="en-US"/>
            </a:br>
            <a:r>
              <a:rPr lang="en-US"/>
              <a:t>Master title style </a:t>
            </a:r>
            <a:br>
              <a:rPr lang="en-US"/>
            </a:br>
            <a:r>
              <a:rPr lang="en-US"/>
              <a:t>36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36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3073851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hapter title dark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a:t>Click to edit Master title style 8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399"/>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p:spPr>
        <p:txBody>
          <a:bodyPr/>
          <a:lstStyle/>
          <a:p>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80520696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hapter title dark 6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a:t>Click to edit </a:t>
            </a:r>
            <a:br>
              <a:rPr lang="en-US"/>
            </a:br>
            <a:r>
              <a:rPr lang="en-US"/>
              <a:t>Master title style</a:t>
            </a:r>
            <a:br>
              <a:rPr lang="en-US"/>
            </a:br>
            <a:r>
              <a:rPr lang="en-US"/>
              <a:t>3 lines 6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2"/>
            <a:ext cx="9288000" cy="1622622"/>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p:spPr>
        <p:txBody>
          <a:bodyPr/>
          <a:lstStyle/>
          <a:p>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63357091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hapter title dark 4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a:t>Click to edit </a:t>
            </a:r>
            <a:br>
              <a:rPr lang="en-US"/>
            </a:br>
            <a:r>
              <a:rPr lang="en-US"/>
              <a:t>Master title style</a:t>
            </a:r>
            <a:br>
              <a:rPr lang="en-US"/>
            </a:br>
            <a:r>
              <a:rPr lang="en-US"/>
              <a:t>extra long headlines</a:t>
            </a:r>
            <a:br>
              <a:rPr lang="en-US"/>
            </a:br>
            <a:r>
              <a:rPr lang="en-US"/>
              <a:t>4 lines 4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121"/>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p:spPr>
        <p:txBody>
          <a:bodyPr/>
          <a:lstStyle/>
          <a:p>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64443938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hapter title light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a:t>Click to edit Master title style 8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p:spPr>
        <p:txBody>
          <a:bodyPr/>
          <a:lstStyle/>
          <a:p>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4FC1DCA2-253A-4E87-91E4-D402488C8D78}"/>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2250566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hapter title light 6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a:t>Click to edit </a:t>
            </a:r>
            <a:br>
              <a:rPr lang="en-US"/>
            </a:br>
            <a:r>
              <a:rPr lang="en-US"/>
              <a:t>Master title style</a:t>
            </a:r>
            <a:br>
              <a:rPr lang="en-US"/>
            </a:br>
            <a:r>
              <a:rPr lang="en-US"/>
              <a:t>3 lines 6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1"/>
            <a:ext cx="9288000" cy="1622623"/>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p:spPr>
        <p:txBody>
          <a:bodyPr/>
          <a:lstStyle/>
          <a:p>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3543E2CC-A901-4194-A712-51CE520302B1}"/>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376082866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hapter title light 4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399" y="1414463"/>
            <a:ext cx="11370437"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a:t>Click to edit </a:t>
            </a:r>
            <a:br>
              <a:rPr lang="en-US"/>
            </a:br>
            <a:r>
              <a:rPr lang="en-US"/>
              <a:t>Master title style</a:t>
            </a:r>
            <a:br>
              <a:rPr lang="en-US"/>
            </a:br>
            <a:r>
              <a:rPr lang="en-US"/>
              <a:t>extra long headlines</a:t>
            </a:r>
            <a:br>
              <a:rPr lang="en-US"/>
            </a:br>
            <a:r>
              <a:rPr lang="en-US"/>
              <a:t>4 lines 4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p:spPr>
        <p:txBody>
          <a:bodyPr/>
          <a:lstStyle/>
          <a:p>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2A2349A4-4A97-42CC-AE59-7EDEE385EDFA}"/>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20328192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ndex / Agenda">
    <p:spTree>
      <p:nvGrpSpPr>
        <p:cNvPr id="1" name=""/>
        <p:cNvGrpSpPr/>
        <p:nvPr/>
      </p:nvGrpSpPr>
      <p:grpSpPr>
        <a:xfrm>
          <a:off x="0" y="0"/>
          <a:ext cx="0" cy="0"/>
          <a:chOff x="0" y="0"/>
          <a:chExt cx="0" cy="0"/>
        </a:xfrm>
      </p:grpSpPr>
      <p:pic>
        <p:nvPicPr>
          <p:cNvPr id="8" name="Cognisphere" descr="A picture containing chart&#10;&#10;Description automatically generated">
            <a:extLst>
              <a:ext uri="{FF2B5EF4-FFF2-40B4-BE49-F238E27FC236}">
                <a16:creationId xmlns:a16="http://schemas.microsoft.com/office/drawing/2014/main" id="{FEC69F24-2876-47B9-A4B6-0ADE800ECDDB}"/>
              </a:ext>
            </a:extLst>
          </p:cNvPr>
          <p:cNvPicPr>
            <a:picLocks noChangeAspect="1"/>
          </p:cNvPicPr>
          <p:nvPr userDrawn="1"/>
        </p:nvPicPr>
        <p:blipFill rotWithShape="1">
          <a:blip r:embed="rId2" cstate="print">
            <a:alphaModFix amt="6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a:xfrm>
            <a:off x="410400" y="478800"/>
            <a:ext cx="5904675" cy="576000"/>
          </a:xfrm>
        </p:spPr>
        <p:txBody>
          <a:bodyPr/>
          <a:lstStyle/>
          <a:p>
            <a:r>
              <a:rPr lang="de-DE"/>
              <a:t>Mastertitelformat bearbeiten</a:t>
            </a:r>
            <a:endParaRPr lang="en-US"/>
          </a:p>
        </p:txBody>
      </p:sp>
      <p:sp>
        <p:nvSpPr>
          <p:cNvPr id="4" name="Copy">
            <a:extLst>
              <a:ext uri="{FF2B5EF4-FFF2-40B4-BE49-F238E27FC236}">
                <a16:creationId xmlns:a16="http://schemas.microsoft.com/office/drawing/2014/main" id="{0E701EC8-7FC1-42BE-915D-048C74A40E0C}"/>
              </a:ext>
            </a:extLst>
          </p:cNvPr>
          <p:cNvSpPr>
            <a:spLocks noGrp="1"/>
          </p:cNvSpPr>
          <p:nvPr>
            <p:ph type="body" sz="quarter" idx="12"/>
          </p:nvPr>
        </p:nvSpPr>
        <p:spPr>
          <a:xfrm>
            <a:off x="411163" y="1414463"/>
            <a:ext cx="5903912" cy="4751387"/>
          </a:xfrm>
        </p:spPr>
        <p:txBody>
          <a:bodyPr/>
          <a:lstStyle>
            <a:lvl1pPr>
              <a:spcAft>
                <a:spcPts val="900"/>
              </a:spcAft>
              <a:tabLst>
                <a:tab pos="5902325" algn="r"/>
              </a:tabLst>
              <a:defRPr/>
            </a:lvl1pPr>
            <a:lvl2pPr>
              <a:spcAft>
                <a:spcPts val="900"/>
              </a:spcAft>
              <a:tabLst>
                <a:tab pos="5902325" algn="r"/>
              </a:tabLst>
              <a:defRPr/>
            </a:lvl2pPr>
            <a:lvl3pPr marL="180000">
              <a:spcAft>
                <a:spcPts val="900"/>
              </a:spcAft>
              <a:tabLst>
                <a:tab pos="5902325" algn="r"/>
              </a:tabLst>
              <a:defRPr b="1"/>
            </a:lvl3pPr>
            <a:lvl4pPr marL="360000">
              <a:spcAft>
                <a:spcPts val="900"/>
              </a:spcAft>
              <a:tabLst>
                <a:tab pos="5902325" algn="r"/>
              </a:tabLst>
              <a:defRPr/>
            </a:lvl4pPr>
            <a:lvl5pPr marL="360000">
              <a:spcAft>
                <a:spcPts val="900"/>
              </a:spcAft>
              <a:tabLst>
                <a:tab pos="5902325" algn="r"/>
              </a:tabLst>
              <a:defRPr b="1"/>
            </a:lvl5pPr>
            <a:lvl6pPr marL="180000">
              <a:spcAft>
                <a:spcPts val="600"/>
              </a:spcAft>
              <a:tabLst>
                <a:tab pos="5902325" algn="r"/>
              </a:tabLst>
              <a:defRPr sz="1600"/>
            </a:lvl6pPr>
            <a:lvl7pPr marL="180000">
              <a:spcAft>
                <a:spcPts val="600"/>
              </a:spcAft>
              <a:tabLst>
                <a:tab pos="5902325" algn="r"/>
              </a:tabLst>
              <a:defRPr sz="1600" b="1"/>
            </a:lvl7pPr>
            <a:lvl8pPr marL="360000">
              <a:spcAft>
                <a:spcPts val="600"/>
              </a:spcAft>
              <a:tabLst>
                <a:tab pos="5902325" algn="r"/>
              </a:tabLst>
              <a:defRPr sz="1600"/>
            </a:lvl8pPr>
            <a:lvl9pPr marL="360000">
              <a:spcAft>
                <a:spcPts val="600"/>
              </a:spcAft>
              <a:tabLst>
                <a:tab pos="5902325" algn="r"/>
              </a:tabLst>
              <a:defRPr sz="1600" b="1"/>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002153482"/>
      </p:ext>
    </p:extLst>
  </p:cSld>
  <p:clrMapOvr>
    <a:masterClrMapping/>
  </p:clrMapOvr>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icture Gradient 48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a:t>Click to edit </a:t>
            </a:r>
            <a:br>
              <a:rPr lang="en-US"/>
            </a:br>
            <a:r>
              <a:rPr lang="en-US"/>
              <a:t>Master title style 48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48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6274283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able of contents / Agenda">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de-DE"/>
              <a:t>Mastertitelformat bearbeiten</a:t>
            </a:r>
            <a:endParaRPr lang="en-US"/>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49365743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de-DE"/>
              <a:t>Mastertitelformat bearbeiten</a:t>
            </a:r>
            <a:endParaRPr lang="en-US"/>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946027316"/>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Free Content without logo">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de-DE"/>
              <a:t>Mastertitelformat bearbeiten</a:t>
            </a:r>
            <a:endParaRPr lang="en-US"/>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spTree>
    <p:extLst>
      <p:ext uri="{BB962C8B-B14F-4D97-AF65-F5344CB8AC3E}">
        <p14:creationId xmlns:p14="http://schemas.microsoft.com/office/powerpoint/2010/main" val="709439478"/>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12192000" cy="6167438"/>
          </a:xfrm>
          <a:solidFill>
            <a:schemeClr val="accent1"/>
          </a:solidFill>
        </p:spPr>
        <p:txBody>
          <a:bodyPr lIns="144000" tIns="108000" rIns="144000" bIns="108000"/>
          <a:lstStyle>
            <a:lvl1pPr marL="0" indent="0">
              <a:buNone/>
              <a:defRPr>
                <a:solidFill>
                  <a:schemeClr val="bg1"/>
                </a:solidFill>
              </a:defRPr>
            </a:lvl1pPr>
          </a:lstStyle>
          <a:p>
            <a:r>
              <a:rPr lang="en-US" noProof="0"/>
              <a:t>Full size picture</a:t>
            </a:r>
          </a:p>
        </p:txBody>
      </p:sp>
      <p:sp>
        <p:nvSpPr>
          <p:cNvPr id="2" name="Title">
            <a:extLst>
              <a:ext uri="{FF2B5EF4-FFF2-40B4-BE49-F238E27FC236}">
                <a16:creationId xmlns:a16="http://schemas.microsoft.com/office/drawing/2014/main" id="{3F142F7C-7BE3-40CB-8C53-6F7533073558}"/>
              </a:ext>
            </a:extLst>
          </p:cNvPr>
          <p:cNvSpPr>
            <a:spLocks noGrp="1"/>
          </p:cNvSpPr>
          <p:nvPr>
            <p:ph type="title" hasCustomPrompt="1"/>
          </p:nvPr>
        </p:nvSpPr>
        <p:spPr>
          <a:xfrm>
            <a:off x="1022400" y="1054100"/>
            <a:ext cx="9252000" cy="1491868"/>
          </a:xfrm>
          <a:noFill/>
        </p:spPr>
        <p:txBody>
          <a:bodyPr wrap="square" rIns="0" bIns="0" anchor="t">
            <a:spAutoFit/>
          </a:bodyPr>
          <a:lstStyle>
            <a:lvl1pPr marL="0">
              <a:lnSpc>
                <a:spcPct val="100000"/>
              </a:lnSpc>
              <a:defRPr sz="4800">
                <a:solidFill>
                  <a:schemeClr val="tx1"/>
                </a:solidFill>
              </a:defRPr>
            </a:lvl1pPr>
          </a:lstStyle>
          <a:p>
            <a:r>
              <a:rPr lang="en-US"/>
              <a:t>Click to edit </a:t>
            </a:r>
            <a:br>
              <a:rPr lang="en-US"/>
            </a:br>
            <a:r>
              <a:rPr lang="en-US"/>
              <a:t>Master title style</a:t>
            </a:r>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263570535"/>
      </p:ext>
    </p:extLst>
  </p:cSld>
  <p:clrMapOvr>
    <a:masterClrMapping/>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2" orient="horz" pos="664">
          <p15:clr>
            <a:srgbClr val="65CEFF"/>
          </p15:clr>
        </p15:guide>
        <p15:guide id="17" orient="horz" pos="3885">
          <p15:clr>
            <a:srgbClr val="65CEFF"/>
          </p15:clr>
        </p15:guide>
        <p15:guide id="18" orient="horz" pos="4157">
          <p15:clr>
            <a:srgbClr val="65CEF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ingle image (Text spotlight)">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7611160" cy="6167438"/>
          </a:xfrm>
          <a:solidFill>
            <a:schemeClr val="accent1"/>
          </a:solidFill>
        </p:spPr>
        <p:txBody>
          <a:bodyPr lIns="144000" tIns="108000" rIns="144000" bIns="108000"/>
          <a:lstStyle>
            <a:lvl1pPr marL="0" indent="0">
              <a:buNone/>
              <a:defRPr>
                <a:solidFill>
                  <a:schemeClr val="bg1"/>
                </a:solidFill>
              </a:defRPr>
            </a:lvl1pPr>
          </a:lstStyle>
          <a:p>
            <a:r>
              <a:rPr lang="en-US" noProof="0"/>
              <a:t>Picture</a:t>
            </a:r>
          </a:p>
        </p:txBody>
      </p:sp>
      <p:sp>
        <p:nvSpPr>
          <p:cNvPr id="2" name="Title">
            <a:extLst>
              <a:ext uri="{FF2B5EF4-FFF2-40B4-BE49-F238E27FC236}">
                <a16:creationId xmlns:a16="http://schemas.microsoft.com/office/drawing/2014/main" id="{AFFC798E-B633-4D30-A7C1-DC796BD8887A}"/>
              </a:ext>
            </a:extLst>
          </p:cNvPr>
          <p:cNvSpPr>
            <a:spLocks noGrp="1"/>
          </p:cNvSpPr>
          <p:nvPr>
            <p:ph type="title" hasCustomPrompt="1"/>
          </p:nvPr>
        </p:nvSpPr>
        <p:spPr>
          <a:xfrm>
            <a:off x="1022400" y="1054100"/>
            <a:ext cx="6156275" cy="2215991"/>
          </a:xfrm>
          <a:noFill/>
        </p:spPr>
        <p:txBody>
          <a:bodyPr wrap="square" rIns="0" bIns="0" anchor="t">
            <a:spAutoFit/>
          </a:bodyPr>
          <a:lstStyle>
            <a:lvl1pPr marL="0">
              <a:lnSpc>
                <a:spcPct val="100000"/>
              </a:lnSpc>
              <a:defRPr sz="4800">
                <a:solidFill>
                  <a:schemeClr val="tx1"/>
                </a:solidFill>
              </a:defRPr>
            </a:lvl1pPr>
          </a:lstStyle>
          <a:p>
            <a:r>
              <a:rPr lang="en-US"/>
              <a:t>Click to edit </a:t>
            </a:r>
            <a:br>
              <a:rPr lang="en-US"/>
            </a:br>
            <a:r>
              <a:rPr lang="en-US"/>
              <a:t>Master title style</a:t>
            </a:r>
            <a:br>
              <a:rPr lang="en-US"/>
            </a:br>
            <a:r>
              <a:rPr lang="en-US"/>
              <a:t>3 lines</a:t>
            </a:r>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a:xfrm>
            <a:off x="8042400" y="1054100"/>
            <a:ext cx="3744000" cy="5113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87938872"/>
      </p:ext>
    </p:extLst>
  </p:cSld>
  <p:clrMapOvr>
    <a:masterClrMapping/>
  </p:clrMapOvr>
  <p:extLst>
    <p:ext uri="{DCECCB84-F9BA-43D5-87BE-67443E8EF086}">
      <p15:sldGuideLst xmlns:p15="http://schemas.microsoft.com/office/powerpoint/2012/main">
        <p15:guide id="1" pos="259">
          <p15:clr>
            <a:srgbClr val="65CEFF"/>
          </p15:clr>
        </p15:guide>
        <p15:guide id="2" pos="4522">
          <p15:clr>
            <a:srgbClr val="65CEFF"/>
          </p15:clr>
        </p15:guide>
        <p15:guide id="3" pos="4794">
          <p15:clr>
            <a:srgbClr val="65CEFF"/>
          </p15:clr>
        </p15:guide>
        <p15:guide id="4" pos="5066">
          <p15:clr>
            <a:srgbClr val="65CEFF"/>
          </p15:clr>
        </p15:guide>
        <p15:guide id="5" pos="6472">
          <p15:clr>
            <a:srgbClr val="65CEFF"/>
          </p15:clr>
        </p15:guide>
        <p15:guide id="6" pos="7425">
          <p15:clr>
            <a:srgbClr val="65CEFF"/>
          </p15:clr>
        </p15:guide>
        <p15:guide id="7" orient="horz" pos="302">
          <p15:clr>
            <a:srgbClr val="65CEFF"/>
          </p15:clr>
        </p15:guide>
        <p15:guide id="8" orient="horz" pos="664">
          <p15:clr>
            <a:srgbClr val="65CEFF"/>
          </p15:clr>
        </p15:guide>
        <p15:guide id="9" orient="horz" pos="891">
          <p15:clr>
            <a:srgbClr val="65CEFF"/>
          </p15:clr>
        </p15:guide>
        <p15:guide id="10" orient="horz" pos="3658">
          <p15:clr>
            <a:srgbClr val="65CEFF"/>
          </p15:clr>
        </p15:guide>
        <p15:guide id="11" orient="horz" pos="3885">
          <p15:clr>
            <a:srgbClr val="65CEFF"/>
          </p15:clr>
        </p15:guide>
        <p15:guide id="12" orient="horz" pos="4157">
          <p15:clr>
            <a:srgbClr val="65CEF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Full bleed color Deep Blue (with key visual)">
    <p:bg>
      <p:bgRef idx="1001">
        <a:schemeClr val="bg2"/>
      </p:bgRef>
    </p:bg>
    <p:spTree>
      <p:nvGrpSpPr>
        <p:cNvPr id="1" name=""/>
        <p:cNvGrpSpPr/>
        <p:nvPr/>
      </p:nvGrpSpPr>
      <p:grpSpPr>
        <a:xfrm>
          <a:off x="0" y="0"/>
          <a:ext cx="0" cy="0"/>
          <a:chOff x="0" y="0"/>
          <a:chExt cx="0" cy="0"/>
        </a:xfrm>
      </p:grpSpPr>
      <p:pic>
        <p:nvPicPr>
          <p:cNvPr id="4" name="Cognisphere" descr="A picture containing fish, monitor, keyboard, computer&#10;&#10;Description automatically generated">
            <a:extLst>
              <a:ext uri="{FF2B5EF4-FFF2-40B4-BE49-F238E27FC236}">
                <a16:creationId xmlns:a16="http://schemas.microsoft.com/office/drawing/2014/main" id="{AE83F1C5-95B7-47C3-B837-8191D1E397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de-DE"/>
              <a:t>Mastertitelformat bearbeiten</a:t>
            </a:r>
            <a:endParaRPr lang="en-US"/>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1779811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Full bleed color Deep Blue">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de-DE"/>
              <a:t>Mastertitelformat bearbeiten</a:t>
            </a:r>
            <a:endParaRPr lang="en-US"/>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0687293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Full bleed color Gradient (with key visual)">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4" name="Cognisphere" descr="A picture containing sky, water, star&#10;&#10;Description automatically generated">
            <a:extLst>
              <a:ext uri="{FF2B5EF4-FFF2-40B4-BE49-F238E27FC236}">
                <a16:creationId xmlns:a16="http://schemas.microsoft.com/office/drawing/2014/main" id="{E2F7C1AE-8376-445B-98CD-DBE6E96E387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de-DE"/>
              <a:t>Mastertitelformat bearbeiten</a:t>
            </a:r>
            <a:endParaRPr lang="en-US"/>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2534801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ull bleed color Gradien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de-DE"/>
              <a:t>Mastertitelformat bearbeiten</a:t>
            </a:r>
            <a:endParaRPr lang="en-US"/>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2825643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One object (small)">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p>
            <a:r>
              <a:rPr lang="de-DE"/>
              <a:t>Mastertitelformat bearbeiten</a:t>
            </a:r>
            <a:endParaRPr lang="en-US"/>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7199313" cy="4752000"/>
          </a:xfrm>
          <a:prstGeom prst="rect">
            <a:avLst/>
          </a:prstGeo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a:extLst>
              <a:ext uri="{FF2B5EF4-FFF2-40B4-BE49-F238E27FC236}">
                <a16:creationId xmlns:a16="http://schemas.microsoft.com/office/drawing/2014/main" id="{E519D384-FA09-4D60-95A8-589F157A93F4}"/>
              </a:ext>
            </a:extLst>
          </p:cNvPr>
          <p:cNvSpPr>
            <a:spLocks noGrp="1"/>
          </p:cNvSpPr>
          <p:nvPr>
            <p:ph type="ftr" sz="quarter" idx="10"/>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6" name="Slide Number Placeholder">
            <a:extLst>
              <a:ext uri="{FF2B5EF4-FFF2-40B4-BE49-F238E27FC236}">
                <a16:creationId xmlns:a16="http://schemas.microsoft.com/office/drawing/2014/main" id="{7B1666FD-2258-443A-846C-6C7533C61D5C}"/>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8" name="Siemens Logo">
            <a:extLst>
              <a:ext uri="{FF2B5EF4-FFF2-40B4-BE49-F238E27FC236}">
                <a16:creationId xmlns:a16="http://schemas.microsoft.com/office/drawing/2014/main" id="{91EB517C-C8FD-4E2E-B744-DB952E96B47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792137833"/>
      </p:ext>
    </p:extLst>
  </p:cSld>
  <p:clrMapOvr>
    <a:masterClrMapping/>
  </p:clrMapOvr>
  <p:extLst>
    <p:ext uri="{DCECCB84-F9BA-43D5-87BE-67443E8EF086}">
      <p15:sldGuideLst xmlns:p15="http://schemas.microsoft.com/office/powerpoint/2012/main">
        <p15:guide id="1" pos="259">
          <p15:clr>
            <a:srgbClr val="65CEFF"/>
          </p15:clr>
        </p15:guide>
        <p15:guide id="2" pos="4794">
          <p15:clr>
            <a:srgbClr val="65CEFF"/>
          </p15:clr>
        </p15:guide>
        <p15:guide id="3" pos="6472">
          <p15:clr>
            <a:srgbClr val="65CEFF"/>
          </p15:clr>
        </p15:guide>
        <p15:guide id="4" pos="7425">
          <p15:clr>
            <a:srgbClr val="65CEFF"/>
          </p15:clr>
        </p15:guide>
        <p15:guide id="5" orient="horz" pos="302">
          <p15:clr>
            <a:srgbClr val="65CEFF"/>
          </p15:clr>
        </p15:guide>
        <p15:guide id="6" orient="horz" pos="664">
          <p15:clr>
            <a:srgbClr val="65CEFF"/>
          </p15:clr>
        </p15:guide>
        <p15:guide id="7" orient="horz" pos="891">
          <p15:clr>
            <a:srgbClr val="65CEFF"/>
          </p15:clr>
        </p15:guide>
        <p15:guide id="8" orient="horz" pos="3658">
          <p15:clr>
            <a:srgbClr val="65CEFF"/>
          </p15:clr>
        </p15:guide>
        <p15:guide id="9" orient="horz" pos="3885">
          <p15:clr>
            <a:srgbClr val="65CEFF"/>
          </p15:clr>
        </p15:guide>
        <p15:guide id="10" orient="horz" pos="4157">
          <p15:clr>
            <a:srgbClr val="65CE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picture Gradient 40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a:t>Click to edit </a:t>
            </a:r>
            <a:br>
              <a:rPr lang="en-US"/>
            </a:br>
            <a:r>
              <a:rPr lang="en-US"/>
              <a:t>Master title style 4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40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5600183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One object (large)">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p>
            <a:r>
              <a:rPr lang="de-DE"/>
              <a:t>Mastertitelformat bearbeiten</a:t>
            </a:r>
            <a:endParaRPr lang="en-US"/>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11376026" cy="4752000"/>
          </a:xfrm>
          <a:prstGeom prst="rect">
            <a:avLst/>
          </a:prstGeo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a:extLst>
              <a:ext uri="{FF2B5EF4-FFF2-40B4-BE49-F238E27FC236}">
                <a16:creationId xmlns:a16="http://schemas.microsoft.com/office/drawing/2014/main" id="{7367E6C0-4D2C-4C5F-86D8-A2CFF0EB3D6A}"/>
              </a:ext>
            </a:extLst>
          </p:cNvPr>
          <p:cNvSpPr>
            <a:spLocks noGrp="1"/>
          </p:cNvSpPr>
          <p:nvPr>
            <p:ph type="ftr" sz="quarter" idx="10"/>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6" name="Slide Number Placeholder">
            <a:extLst>
              <a:ext uri="{FF2B5EF4-FFF2-40B4-BE49-F238E27FC236}">
                <a16:creationId xmlns:a16="http://schemas.microsoft.com/office/drawing/2014/main" id="{6F746812-65E3-4C09-AC38-B0CFE93C8A95}"/>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236001958"/>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302">
          <p15:clr>
            <a:srgbClr val="65CEFF"/>
          </p15:clr>
        </p15:guide>
        <p15:guide id="5" orient="horz" pos="664">
          <p15:clr>
            <a:srgbClr val="65CEFF"/>
          </p15:clr>
        </p15:guide>
        <p15:guide id="6" orient="horz" pos="891">
          <p15:clr>
            <a:srgbClr val="65CEFF"/>
          </p15:clr>
        </p15:guide>
        <p15:guide id="7" orient="horz" pos="3658">
          <p15:clr>
            <a:srgbClr val="65CEFF"/>
          </p15:clr>
        </p15:guide>
        <p15:guide id="8" orient="horz" pos="3885">
          <p15:clr>
            <a:srgbClr val="65CEFF"/>
          </p15:clr>
        </p15:guide>
        <p15:guide id="9" orient="horz" pos="4157">
          <p15:clr>
            <a:srgbClr val="65CEF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de-DE"/>
              <a:t>Mastertitelformat bearbeiten</a:t>
            </a:r>
            <a:endParaRPr lang="en-US"/>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4752000"/>
          </a:xfrm>
          <a:prstGeom prst="rect">
            <a:avLst/>
          </a:prstGeo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4752000"/>
          </a:xfrm>
          <a:prstGeom prst="rect">
            <a:avLst/>
          </a:prstGeo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ooter Placeholder">
            <a:extLst>
              <a:ext uri="{FF2B5EF4-FFF2-40B4-BE49-F238E27FC236}">
                <a16:creationId xmlns:a16="http://schemas.microsoft.com/office/drawing/2014/main" id="{33A503D1-D234-4258-9A03-D858B10BA46D}"/>
              </a:ext>
            </a:extLst>
          </p:cNvPr>
          <p:cNvSpPr>
            <a:spLocks noGrp="1"/>
          </p:cNvSpPr>
          <p:nvPr>
            <p:ph type="ftr" sz="quarter" idx="10"/>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7" name="Slide Number Placeholder">
            <a:extLst>
              <a:ext uri="{FF2B5EF4-FFF2-40B4-BE49-F238E27FC236}">
                <a16:creationId xmlns:a16="http://schemas.microsoft.com/office/drawing/2014/main" id="{21AA656B-0BAF-4B75-90BE-93CAC5946C0B}"/>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171993180"/>
      </p:ext>
    </p:extLst>
  </p:cSld>
  <p:clrMapOvr>
    <a:masterClrMapping/>
  </p:clrMapOvr>
  <p:extLst>
    <p:ext uri="{DCECCB84-F9BA-43D5-87BE-67443E8EF086}">
      <p15:sldGuideLst xmlns:p15="http://schemas.microsoft.com/office/powerpoint/2012/main">
        <p15:guide id="1" pos="259">
          <p15:clr>
            <a:srgbClr val="65CEFF"/>
          </p15:clr>
        </p15:guide>
        <p15:guide id="2" pos="3705">
          <p15:clr>
            <a:srgbClr val="65CEFF"/>
          </p15:clr>
        </p15:guide>
        <p15:guide id="3" pos="3978">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de-DE"/>
              <a:t>Mastertitelformat bearbeiten</a:t>
            </a:r>
            <a:endParaRPr lang="en-US"/>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3600000" cy="4752000"/>
          </a:xfrm>
          <a:prstGeom prst="rect">
            <a:avLst/>
          </a:prstGeo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4298400" y="1414800"/>
            <a:ext cx="3600000" cy="4752000"/>
          </a:xfrm>
          <a:prstGeom prst="rect">
            <a:avLst/>
          </a:prstGeo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Copy 3">
            <a:extLst>
              <a:ext uri="{FF2B5EF4-FFF2-40B4-BE49-F238E27FC236}">
                <a16:creationId xmlns:a16="http://schemas.microsoft.com/office/drawing/2014/main" id="{F020B491-E63A-4FB5-94ED-2BC31EB35C33}"/>
              </a:ext>
            </a:extLst>
          </p:cNvPr>
          <p:cNvSpPr>
            <a:spLocks noGrp="1"/>
          </p:cNvSpPr>
          <p:nvPr>
            <p:ph sz="half" idx="12"/>
          </p:nvPr>
        </p:nvSpPr>
        <p:spPr>
          <a:xfrm>
            <a:off x="8186400" y="1414800"/>
            <a:ext cx="3600000" cy="4752000"/>
          </a:xfrm>
          <a:prstGeom prst="rect">
            <a:avLst/>
          </a:prstGeo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ooter Placeholder">
            <a:extLst>
              <a:ext uri="{FF2B5EF4-FFF2-40B4-BE49-F238E27FC236}">
                <a16:creationId xmlns:a16="http://schemas.microsoft.com/office/drawing/2014/main" id="{E613FA68-C74A-4621-9563-250388EBCC8B}"/>
              </a:ext>
            </a:extLst>
          </p:cNvPr>
          <p:cNvSpPr>
            <a:spLocks noGrp="1"/>
          </p:cNvSpPr>
          <p:nvPr>
            <p:ph type="ftr" sz="quarter" idx="13"/>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7" name="Slide Number Placeholder">
            <a:extLst>
              <a:ext uri="{FF2B5EF4-FFF2-40B4-BE49-F238E27FC236}">
                <a16:creationId xmlns:a16="http://schemas.microsoft.com/office/drawing/2014/main" id="{F9117D9C-D502-472C-A3C8-FA9087A2EDCE}"/>
              </a:ext>
            </a:extLst>
          </p:cNvPr>
          <p:cNvSpPr>
            <a:spLocks noGrp="1"/>
          </p:cNvSpPr>
          <p:nvPr>
            <p:ph type="sldNum" sz="quarter" idx="14"/>
          </p:nvPr>
        </p:nvSpPr>
        <p:spPr/>
        <p:txBody>
          <a:body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606462367"/>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4975">
          <p15:clr>
            <a:srgbClr val="65CEFF"/>
          </p15:clr>
        </p15:guide>
        <p15:guide id="5" pos="5157">
          <p15:clr>
            <a:srgbClr val="65CEFF"/>
          </p15:clr>
        </p15:guide>
        <p15:guide id="6" pos="6472">
          <p15:clr>
            <a:srgbClr val="65CEFF"/>
          </p15:clr>
        </p15:guide>
        <p15:guide id="7" pos="7425">
          <p15:clr>
            <a:srgbClr val="65CEFF"/>
          </p15:clr>
        </p15:guide>
        <p15:guide id="8" orient="horz" pos="302">
          <p15:clr>
            <a:srgbClr val="65CEFF"/>
          </p15:clr>
        </p15:guide>
        <p15:guide id="9" orient="horz" pos="664">
          <p15:clr>
            <a:srgbClr val="65CEFF"/>
          </p15:clr>
        </p15:guide>
        <p15:guide id="10" orient="horz" pos="891">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Four object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de-DE"/>
              <a:t>Mastertitelformat bearbeiten</a:t>
            </a:r>
            <a:endParaRPr lang="en-US"/>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Copy 2">
            <a:extLst>
              <a:ext uri="{FF2B5EF4-FFF2-40B4-BE49-F238E27FC236}">
                <a16:creationId xmlns:a16="http://schemas.microsoft.com/office/drawing/2014/main" id="{2871E7F7-6A93-4406-8617-80D9CFF396A8}"/>
              </a:ext>
            </a:extLst>
          </p:cNvPr>
          <p:cNvSpPr>
            <a:spLocks noGrp="1"/>
          </p:cNvSpPr>
          <p:nvPr>
            <p:ph sz="half" idx="12"/>
          </p:nvPr>
        </p:nvSpPr>
        <p:spPr>
          <a:xfrm>
            <a:off x="411162" y="3718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py 3">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2" name="Copy 4">
            <a:extLst>
              <a:ext uri="{FF2B5EF4-FFF2-40B4-BE49-F238E27FC236}">
                <a16:creationId xmlns:a16="http://schemas.microsoft.com/office/drawing/2014/main" id="{7AD3B9B1-3210-46C8-8222-A0E11719EB88}"/>
              </a:ext>
            </a:extLst>
          </p:cNvPr>
          <p:cNvSpPr>
            <a:spLocks noGrp="1"/>
          </p:cNvSpPr>
          <p:nvPr>
            <p:ph sz="half" idx="13"/>
          </p:nvPr>
        </p:nvSpPr>
        <p:spPr>
          <a:xfrm>
            <a:off x="6315075" y="3718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ooter Placeholder">
            <a:extLst>
              <a:ext uri="{FF2B5EF4-FFF2-40B4-BE49-F238E27FC236}">
                <a16:creationId xmlns:a16="http://schemas.microsoft.com/office/drawing/2014/main" id="{1DF6F0C8-00D9-4034-B3CC-D376702BE1C8}"/>
              </a:ext>
            </a:extLst>
          </p:cNvPr>
          <p:cNvSpPr>
            <a:spLocks noGrp="1"/>
          </p:cNvSpPr>
          <p:nvPr>
            <p:ph type="ftr" sz="quarter" idx="14"/>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7" name="Slide Number Placeholder">
            <a:extLst>
              <a:ext uri="{FF2B5EF4-FFF2-40B4-BE49-F238E27FC236}">
                <a16:creationId xmlns:a16="http://schemas.microsoft.com/office/drawing/2014/main" id="{53D55964-F7E8-48E3-84D5-FE4FE835C563}"/>
              </a:ext>
            </a:extLst>
          </p:cNvPr>
          <p:cNvSpPr>
            <a:spLocks noGrp="1"/>
          </p:cNvSpPr>
          <p:nvPr>
            <p:ph type="sldNum" sz="quarter" idx="15"/>
          </p:nvPr>
        </p:nvSpPr>
        <p:spPr/>
        <p:txBody>
          <a:body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351112747"/>
      </p:ext>
    </p:extLst>
  </p:cSld>
  <p:clrMapOvr>
    <a:masterClrMapping/>
  </p:clrMapOvr>
  <p:extLst>
    <p:ext uri="{DCECCB84-F9BA-43D5-87BE-67443E8EF086}">
      <p15:sldGuideLst xmlns:p15="http://schemas.microsoft.com/office/powerpoint/2012/main">
        <p15:guide id="1" pos="259">
          <p15:clr>
            <a:srgbClr val="65CEFF"/>
          </p15:clr>
        </p15:guide>
        <p15:guide id="2" pos="3705">
          <p15:clr>
            <a:srgbClr val="65CEFF"/>
          </p15:clr>
        </p15:guide>
        <p15:guide id="3" pos="3978">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2206">
          <p15:clr>
            <a:srgbClr val="65CEFF"/>
          </p15:clr>
        </p15:guide>
        <p15:guide id="10" orient="horz" pos="2343">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s (Spot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568133C-15D2-4F33-802E-DF15E7891829}"/>
              </a:ext>
            </a:extLst>
          </p:cNvPr>
          <p:cNvSpPr>
            <a:spLocks noGrp="1"/>
          </p:cNvSpPr>
          <p:nvPr>
            <p:ph type="title"/>
          </p:nvPr>
        </p:nvSpPr>
        <p:spPr/>
        <p:txBody>
          <a:bodyPr/>
          <a:lstStyle/>
          <a:p>
            <a:r>
              <a:rPr lang="de-DE"/>
              <a:t>Mastertitelformat bearbeiten</a:t>
            </a:r>
            <a:endParaRPr lang="en-US"/>
          </a:p>
        </p:txBody>
      </p:sp>
      <p:sp>
        <p:nvSpPr>
          <p:cNvPr id="7" name="Picture Placeholder">
            <a:extLst>
              <a:ext uri="{FF2B5EF4-FFF2-40B4-BE49-F238E27FC236}">
                <a16:creationId xmlns:a16="http://schemas.microsoft.com/office/drawing/2014/main" id="{90866A30-329B-420B-B42B-2C69E0DE6D9B}"/>
              </a:ext>
            </a:extLst>
          </p:cNvPr>
          <p:cNvSpPr>
            <a:spLocks noGrp="1"/>
          </p:cNvSpPr>
          <p:nvPr>
            <p:ph type="pic" sz="quarter" idx="12"/>
          </p:nvPr>
        </p:nvSpPr>
        <p:spPr>
          <a:xfrm>
            <a:off x="411161" y="1414800"/>
            <a:ext cx="7199313" cy="4752000"/>
          </a:xfrm>
          <a:solidFill>
            <a:schemeClr val="bg2"/>
          </a:solidFill>
        </p:spPr>
        <p:txBody>
          <a:bodyPr>
            <a:noAutofit/>
          </a:bodyPr>
          <a:lstStyle/>
          <a:p>
            <a:r>
              <a:rPr lang="de-DE"/>
              <a:t>Bild durch Klicken auf Symbol hinzufügen</a:t>
            </a:r>
            <a:endParaRPr lang="en-US"/>
          </a:p>
        </p:txBody>
      </p:sp>
      <p:sp>
        <p:nvSpPr>
          <p:cNvPr id="4" name="Copy">
            <a:extLst>
              <a:ext uri="{FF2B5EF4-FFF2-40B4-BE49-F238E27FC236}">
                <a16:creationId xmlns:a16="http://schemas.microsoft.com/office/drawing/2014/main" id="{BF3FF41E-3844-4153-B955-A1F3E9EC1D30}"/>
              </a:ext>
            </a:extLst>
          </p:cNvPr>
          <p:cNvSpPr>
            <a:spLocks noGrp="1"/>
          </p:cNvSpPr>
          <p:nvPr>
            <p:ph sz="half" idx="2"/>
          </p:nvPr>
        </p:nvSpPr>
        <p:spPr>
          <a:xfrm>
            <a:off x="8043189" y="1414800"/>
            <a:ext cx="3744000" cy="4752000"/>
          </a:xfrm>
          <a:prstGeom prst="rect">
            <a:avLst/>
          </a:prstGeo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 name="Footer Placeholder">
            <a:extLst>
              <a:ext uri="{FF2B5EF4-FFF2-40B4-BE49-F238E27FC236}">
                <a16:creationId xmlns:a16="http://schemas.microsoft.com/office/drawing/2014/main" id="{33756E69-CA2F-47EC-9D32-CB09C4CD83F1}"/>
              </a:ext>
            </a:extLst>
          </p:cNvPr>
          <p:cNvSpPr>
            <a:spLocks noGrp="1"/>
          </p:cNvSpPr>
          <p:nvPr>
            <p:ph type="ftr" sz="quarter" idx="13"/>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5" name="Slide Number Placeholder">
            <a:extLst>
              <a:ext uri="{FF2B5EF4-FFF2-40B4-BE49-F238E27FC236}">
                <a16:creationId xmlns:a16="http://schemas.microsoft.com/office/drawing/2014/main" id="{95022CCB-0484-488B-8637-222C3919B0F7}"/>
              </a:ext>
            </a:extLst>
          </p:cNvPr>
          <p:cNvSpPr>
            <a:spLocks noGrp="1"/>
          </p:cNvSpPr>
          <p:nvPr>
            <p:ph type="sldNum" sz="quarter" idx="14"/>
          </p:nvPr>
        </p:nvSpPr>
        <p:spPr/>
        <p:txBody>
          <a:body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F468BE17-5D03-45C2-9D37-CF354AAA958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557142372"/>
      </p:ext>
    </p:extLst>
  </p:cSld>
  <p:clrMapOvr>
    <a:masterClrMapping/>
  </p:clrMapOvr>
  <p:extLst>
    <p:ext uri="{DCECCB84-F9BA-43D5-87BE-67443E8EF086}">
      <p15:sldGuideLst xmlns:p15="http://schemas.microsoft.com/office/powerpoint/2012/main">
        <p15:guide id="1" pos="259">
          <p15:clr>
            <a:srgbClr val="65CEFF"/>
          </p15:clr>
        </p15:guide>
        <p15:guide id="2" pos="4794">
          <p15:clr>
            <a:srgbClr val="65CEFF"/>
          </p15:clr>
        </p15:guide>
        <p15:guide id="3" pos="5066">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s without logo (Spot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0C7B869-3095-4D4F-B832-8B6077991AA5}"/>
              </a:ext>
            </a:extLst>
          </p:cNvPr>
          <p:cNvSpPr>
            <a:spLocks noGrp="1"/>
          </p:cNvSpPr>
          <p:nvPr>
            <p:ph type="title"/>
          </p:nvPr>
        </p:nvSpPr>
        <p:spPr/>
        <p:txBody>
          <a:bodyPr/>
          <a:lstStyle/>
          <a:p>
            <a:r>
              <a:rPr lang="de-DE"/>
              <a:t>Mastertitelformat bearbeiten</a:t>
            </a:r>
            <a:endParaRPr lang="en-US"/>
          </a:p>
        </p:txBody>
      </p:sp>
      <p:sp>
        <p:nvSpPr>
          <p:cNvPr id="9" name="Picture Placeholder">
            <a:extLst>
              <a:ext uri="{FF2B5EF4-FFF2-40B4-BE49-F238E27FC236}">
                <a16:creationId xmlns:a16="http://schemas.microsoft.com/office/drawing/2014/main" id="{299C05E6-AE55-4C36-8543-1DA3751542EB}"/>
              </a:ext>
            </a:extLst>
          </p:cNvPr>
          <p:cNvSpPr>
            <a:spLocks noGrp="1"/>
          </p:cNvSpPr>
          <p:nvPr>
            <p:ph type="pic" sz="quarter" idx="12"/>
          </p:nvPr>
        </p:nvSpPr>
        <p:spPr>
          <a:xfrm>
            <a:off x="411163" y="1414800"/>
            <a:ext cx="7199311" cy="4752000"/>
          </a:xfrm>
          <a:solidFill>
            <a:schemeClr val="bg2"/>
          </a:solidFill>
        </p:spPr>
        <p:txBody>
          <a:bodyPr/>
          <a:lstStyle/>
          <a:p>
            <a:r>
              <a:rPr lang="de-DE"/>
              <a:t>Bild durch Klicken auf Symbol hinzufügen</a:t>
            </a:r>
            <a:endParaRPr lang="en-US"/>
          </a:p>
        </p:txBody>
      </p:sp>
      <p:sp>
        <p:nvSpPr>
          <p:cNvPr id="4" name="Copy">
            <a:extLst>
              <a:ext uri="{FF2B5EF4-FFF2-40B4-BE49-F238E27FC236}">
                <a16:creationId xmlns:a16="http://schemas.microsoft.com/office/drawing/2014/main" id="{BF3FF41E-3844-4153-B955-A1F3E9EC1D30}"/>
              </a:ext>
            </a:extLst>
          </p:cNvPr>
          <p:cNvSpPr>
            <a:spLocks noGrp="1"/>
          </p:cNvSpPr>
          <p:nvPr>
            <p:ph sz="half" idx="2"/>
          </p:nvPr>
        </p:nvSpPr>
        <p:spPr>
          <a:xfrm>
            <a:off x="8043189" y="1414800"/>
            <a:ext cx="3744000" cy="4752000"/>
          </a:xfrm>
          <a:prstGeom prst="rect">
            <a:avLst/>
          </a:prstGeo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a:extLst>
              <a:ext uri="{FF2B5EF4-FFF2-40B4-BE49-F238E27FC236}">
                <a16:creationId xmlns:a16="http://schemas.microsoft.com/office/drawing/2014/main" id="{2BA12055-C879-45E9-A105-2B26D233C9D4}"/>
              </a:ext>
            </a:extLst>
          </p:cNvPr>
          <p:cNvSpPr>
            <a:spLocks noGrp="1"/>
          </p:cNvSpPr>
          <p:nvPr>
            <p:ph type="ftr" sz="quarter" idx="13"/>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7" name="Slide Number Placeholder">
            <a:extLst>
              <a:ext uri="{FF2B5EF4-FFF2-40B4-BE49-F238E27FC236}">
                <a16:creationId xmlns:a16="http://schemas.microsoft.com/office/drawing/2014/main" id="{9AD82E40-8759-4AAC-B9F2-63E0F2C4CC7C}"/>
              </a:ext>
            </a:extLst>
          </p:cNvPr>
          <p:cNvSpPr>
            <a:spLocks noGrp="1"/>
          </p:cNvSpPr>
          <p:nvPr>
            <p:ph type="sldNum" sz="quarter" idx="14"/>
          </p:nvPr>
        </p:nvSpPr>
        <p:spPr/>
        <p:txBody>
          <a:bodyPr/>
          <a:lstStyle/>
          <a:p>
            <a:r>
              <a:rPr lang="en-US"/>
              <a:t>Page </a:t>
            </a:r>
            <a:fld id="{15EBE321-CBB1-4E91-BD14-37C8D44326FB}" type="slidenum">
              <a:rPr lang="en-US" smtClean="0"/>
              <a:pPr/>
              <a:t>‹nr.›</a:t>
            </a:fld>
            <a:endParaRPr lang="en-US"/>
          </a:p>
        </p:txBody>
      </p:sp>
    </p:spTree>
    <p:extLst>
      <p:ext uri="{BB962C8B-B14F-4D97-AF65-F5344CB8AC3E}">
        <p14:creationId xmlns:p14="http://schemas.microsoft.com/office/powerpoint/2010/main" val="3658853643"/>
      </p:ext>
    </p:extLst>
  </p:cSld>
  <p:clrMapOvr>
    <a:masterClrMapping/>
  </p:clrMapOvr>
  <p:extLst>
    <p:ext uri="{DCECCB84-F9BA-43D5-87BE-67443E8EF086}">
      <p15:sldGuideLst xmlns:p15="http://schemas.microsoft.com/office/powerpoint/2012/main">
        <p15:guide id="1" pos="259">
          <p15:clr>
            <a:srgbClr val="65CEFF"/>
          </p15:clr>
        </p15:guide>
        <p15:guide id="2" pos="4794">
          <p15:clr>
            <a:srgbClr val="65CEFF"/>
          </p15:clr>
        </p15:guide>
        <p15:guide id="3" pos="5066">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One table (large)">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lvl1pPr>
              <a:defRPr>
                <a:solidFill>
                  <a:schemeClr val="accent1"/>
                </a:solidFill>
              </a:defRPr>
            </a:lvl1pPr>
          </a:lstStyle>
          <a:p>
            <a:r>
              <a:rPr lang="de-DE"/>
              <a:t>Mastertitelformat bearbeiten</a:t>
            </a:r>
            <a:endParaRPr lang="en-US"/>
          </a:p>
        </p:txBody>
      </p:sp>
      <p:sp>
        <p:nvSpPr>
          <p:cNvPr id="6" name="Table Placeholder">
            <a:extLst>
              <a:ext uri="{FF2B5EF4-FFF2-40B4-BE49-F238E27FC236}">
                <a16:creationId xmlns:a16="http://schemas.microsoft.com/office/drawing/2014/main" id="{D41D1FE0-EDDA-47B8-BF1F-831D4733C32A}"/>
              </a:ext>
            </a:extLst>
          </p:cNvPr>
          <p:cNvSpPr>
            <a:spLocks noGrp="1"/>
          </p:cNvSpPr>
          <p:nvPr>
            <p:ph type="tbl" sz="quarter" idx="12"/>
          </p:nvPr>
        </p:nvSpPr>
        <p:spPr>
          <a:xfrm>
            <a:off x="404812" y="1414461"/>
            <a:ext cx="11376026" cy="4392000"/>
          </a:xfrm>
        </p:spPr>
        <p:txBody>
          <a:bodyPr/>
          <a:lstStyle/>
          <a:p>
            <a:r>
              <a:rPr lang="de-DE"/>
              <a:t>Tabelle durch Klicken auf Symbol hinzufügen</a:t>
            </a:r>
            <a:endParaRPr lang="en-US"/>
          </a:p>
        </p:txBody>
      </p:sp>
      <p:sp>
        <p:nvSpPr>
          <p:cNvPr id="3" name="Footer Placeholder">
            <a:extLst>
              <a:ext uri="{FF2B5EF4-FFF2-40B4-BE49-F238E27FC236}">
                <a16:creationId xmlns:a16="http://schemas.microsoft.com/office/drawing/2014/main" id="{9CEA2FAD-1597-4F5C-878D-02CB854024F3}"/>
              </a:ext>
            </a:extLst>
          </p:cNvPr>
          <p:cNvSpPr>
            <a:spLocks noGrp="1"/>
          </p:cNvSpPr>
          <p:nvPr>
            <p:ph type="ftr" sz="quarter" idx="13"/>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5" name="Slide Number Placeholder">
            <a:extLst>
              <a:ext uri="{FF2B5EF4-FFF2-40B4-BE49-F238E27FC236}">
                <a16:creationId xmlns:a16="http://schemas.microsoft.com/office/drawing/2014/main" id="{CE0A22CB-5E69-4817-B713-C02B97CF6B91}"/>
              </a:ext>
            </a:extLst>
          </p:cNvPr>
          <p:cNvSpPr>
            <a:spLocks noGrp="1"/>
          </p:cNvSpPr>
          <p:nvPr>
            <p:ph type="sldNum" sz="quarter" idx="14"/>
          </p:nvPr>
        </p:nvSpPr>
        <p:spPr/>
        <p:txBody>
          <a:body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794469936"/>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302">
          <p15:clr>
            <a:srgbClr val="65CEFF"/>
          </p15:clr>
        </p15:guide>
        <p15:guide id="5" orient="horz" pos="664">
          <p15:clr>
            <a:srgbClr val="65CEFF"/>
          </p15:clr>
        </p15:guide>
        <p15:guide id="6" orient="horz" pos="891">
          <p15:clr>
            <a:srgbClr val="65CEFF"/>
          </p15:clr>
        </p15:guide>
        <p15:guide id="7" orient="horz" pos="3658">
          <p15:clr>
            <a:srgbClr val="65CEFF"/>
          </p15:clr>
        </p15:guide>
        <p15:guide id="8" orient="horz" pos="3885">
          <p15:clr>
            <a:srgbClr val="65CEFF"/>
          </p15:clr>
        </p15:guide>
        <p15:guide id="9" orient="horz" pos="4157">
          <p15:clr>
            <a:srgbClr val="65CEF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Process flow">
    <p:bg>
      <p:bgRef idx="1001">
        <a:schemeClr val="bg2"/>
      </p:bgRef>
    </p:bg>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F2A455C-53B1-4792-8EA9-F00926C48E39}"/>
              </a:ext>
            </a:extLst>
          </p:cNvPr>
          <p:cNvSpPr>
            <a:spLocks noGrp="1"/>
          </p:cNvSpPr>
          <p:nvPr>
            <p:ph type="title"/>
          </p:nvPr>
        </p:nvSpPr>
        <p:spPr/>
        <p:txBody>
          <a:bodyPr/>
          <a:lstStyle>
            <a:lvl1pPr>
              <a:defRPr>
                <a:solidFill>
                  <a:schemeClr val="tx1"/>
                </a:solidFill>
              </a:defRPr>
            </a:lvl1pPr>
          </a:lstStyle>
          <a:p>
            <a:r>
              <a:rPr lang="de-DE"/>
              <a:t>Mastertitelformat bearbeiten</a:t>
            </a:r>
            <a:endParaRPr lang="en-US"/>
          </a:p>
        </p:txBody>
      </p:sp>
      <p:sp>
        <p:nvSpPr>
          <p:cNvPr id="3" name="Copy 1">
            <a:extLst>
              <a:ext uri="{FF2B5EF4-FFF2-40B4-BE49-F238E27FC236}">
                <a16:creationId xmlns:a16="http://schemas.microsoft.com/office/drawing/2014/main" id="{9CE7E2D8-94E8-4FE6-93A5-924CA3EC5315}"/>
              </a:ext>
            </a:extLst>
          </p:cNvPr>
          <p:cNvSpPr>
            <a:spLocks noGrp="1"/>
          </p:cNvSpPr>
          <p:nvPr>
            <p:ph idx="1"/>
          </p:nvPr>
        </p:nvSpPr>
        <p:spPr>
          <a:xfrm>
            <a:off x="411162" y="1414462"/>
            <a:ext cx="3600000" cy="4392000"/>
          </a:xfrm>
          <a:prstGeom prst="rect">
            <a:avLst/>
          </a:prstGeom>
          <a:ln w="19050">
            <a:solidFill>
              <a:schemeClr val="accent2"/>
            </a:solidFill>
          </a:ln>
        </p:spPr>
        <p:txBody>
          <a:bodyPr lIns="216000" tIns="144000" rIns="216000" bIns="144000">
            <a:noAutofit/>
          </a:bodyPr>
          <a:lstStyle>
            <a:lvl1pPr>
              <a:defRPr>
                <a:ln>
                  <a:noFill/>
                </a:ln>
              </a:defRPr>
            </a:lvl1pPr>
            <a:lvl2pPr>
              <a:buClr>
                <a:srgbClr val="00FFB9"/>
              </a:buClr>
              <a:defRPr>
                <a:ln>
                  <a:noFill/>
                </a:ln>
              </a:defRPr>
            </a:lvl2pPr>
            <a:lvl3pPr>
              <a:buClr>
                <a:srgbClr val="00FFB9"/>
              </a:buClr>
              <a:defRPr>
                <a:ln>
                  <a:noFill/>
                </a:ln>
              </a:defRPr>
            </a:lvl3pPr>
            <a:lvl4pPr>
              <a:buClr>
                <a:srgbClr val="00FFB9"/>
              </a:buClr>
              <a:defRPr>
                <a:ln>
                  <a:noFill/>
                </a:ln>
              </a:defRPr>
            </a:lvl4pPr>
            <a:lvl5pPr>
              <a:buClr>
                <a:srgbClr val="00FFB9"/>
              </a:buClr>
              <a:defRPr>
                <a:ln>
                  <a:noFill/>
                </a:ln>
              </a:defRPr>
            </a:lvl5pPr>
            <a:lvl6pPr>
              <a:buClr>
                <a:srgbClr val="00FFB9"/>
              </a:buClr>
              <a:defRPr>
                <a:ln>
                  <a:noFill/>
                </a:ln>
              </a:defRPr>
            </a:lvl6pPr>
            <a:lvl7pPr>
              <a:buClr>
                <a:srgbClr val="00FFB9"/>
              </a:buClr>
              <a:defRPr>
                <a:ln>
                  <a:noFill/>
                </a:ln>
              </a:defRPr>
            </a:lvl7pPr>
            <a:lvl8pPr>
              <a:buClr>
                <a:srgbClr val="00FFB9"/>
              </a:buClr>
              <a:defRPr>
                <a:ln>
                  <a:noFill/>
                </a:ln>
              </a:defRPr>
            </a:lvl8pPr>
            <a:lvl9pPr>
              <a:buClr>
                <a:srgbClr val="00FFB9"/>
              </a:buClr>
              <a:defRPr>
                <a:ln>
                  <a:noFill/>
                </a:ln>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1" name="Copy 2">
            <a:extLst>
              <a:ext uri="{FF2B5EF4-FFF2-40B4-BE49-F238E27FC236}">
                <a16:creationId xmlns:a16="http://schemas.microsoft.com/office/drawing/2014/main" id="{3AC3CE10-0C4B-4A11-BA76-8CAFED13661C}"/>
              </a:ext>
            </a:extLst>
          </p:cNvPr>
          <p:cNvSpPr>
            <a:spLocks noGrp="1"/>
          </p:cNvSpPr>
          <p:nvPr>
            <p:ph idx="13"/>
          </p:nvPr>
        </p:nvSpPr>
        <p:spPr>
          <a:xfrm>
            <a:off x="4299176" y="1414462"/>
            <a:ext cx="3600000" cy="4392000"/>
          </a:xfrm>
          <a:prstGeom prst="rect">
            <a:avLst/>
          </a:prstGeom>
          <a:ln w="19050">
            <a:solidFill>
              <a:schemeClr val="accent2"/>
            </a:solidFill>
          </a:ln>
        </p:spPr>
        <p:txBody>
          <a:bodyPr lIns="216000" tIns="144000" rIns="216000" bIns="144000">
            <a:noAutofit/>
          </a:bodyPr>
          <a:lstStyle>
            <a:lvl1pPr>
              <a:defRPr>
                <a:ln>
                  <a:noFill/>
                </a:ln>
              </a:defRPr>
            </a:lvl1pPr>
            <a:lvl2pPr>
              <a:buClr>
                <a:srgbClr val="00FFB9"/>
              </a:buClr>
              <a:defRPr>
                <a:ln>
                  <a:noFill/>
                </a:ln>
              </a:defRPr>
            </a:lvl2pPr>
            <a:lvl3pPr>
              <a:buClr>
                <a:srgbClr val="00FFB9"/>
              </a:buClr>
              <a:defRPr>
                <a:ln>
                  <a:noFill/>
                </a:ln>
              </a:defRPr>
            </a:lvl3pPr>
            <a:lvl4pPr>
              <a:buClr>
                <a:srgbClr val="00FFB9"/>
              </a:buClr>
              <a:defRPr>
                <a:ln>
                  <a:noFill/>
                </a:ln>
              </a:defRPr>
            </a:lvl4pPr>
            <a:lvl5pPr>
              <a:buClr>
                <a:srgbClr val="00FFB9"/>
              </a:buClr>
              <a:defRPr>
                <a:ln>
                  <a:noFill/>
                </a:ln>
              </a:defRPr>
            </a:lvl5pPr>
            <a:lvl6pPr>
              <a:buClr>
                <a:srgbClr val="00FFB9"/>
              </a:buClr>
              <a:defRPr>
                <a:ln>
                  <a:noFill/>
                </a:ln>
              </a:defRPr>
            </a:lvl6pPr>
            <a:lvl7pPr>
              <a:buClr>
                <a:srgbClr val="00FFB9"/>
              </a:buClr>
              <a:defRPr>
                <a:ln>
                  <a:noFill/>
                </a:ln>
              </a:defRPr>
            </a:lvl7pPr>
            <a:lvl8pPr>
              <a:buClr>
                <a:srgbClr val="00FFB9"/>
              </a:buClr>
              <a:defRPr>
                <a:ln>
                  <a:noFill/>
                </a:ln>
              </a:defRPr>
            </a:lvl8pPr>
            <a:lvl9pPr>
              <a:buClr>
                <a:srgbClr val="00FFB9"/>
              </a:buClr>
              <a:defRPr>
                <a:ln>
                  <a:noFill/>
                </a:ln>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0" name="Copy 3">
            <a:extLst>
              <a:ext uri="{FF2B5EF4-FFF2-40B4-BE49-F238E27FC236}">
                <a16:creationId xmlns:a16="http://schemas.microsoft.com/office/drawing/2014/main" id="{E840DCCC-8E77-40B8-B94B-A4D3A4D77826}"/>
              </a:ext>
            </a:extLst>
          </p:cNvPr>
          <p:cNvSpPr>
            <a:spLocks noGrp="1"/>
          </p:cNvSpPr>
          <p:nvPr>
            <p:ph idx="12"/>
          </p:nvPr>
        </p:nvSpPr>
        <p:spPr>
          <a:xfrm>
            <a:off x="8187189" y="1414462"/>
            <a:ext cx="3600000" cy="4392000"/>
          </a:xfrm>
          <a:prstGeom prst="rect">
            <a:avLst/>
          </a:prstGeom>
          <a:solidFill>
            <a:schemeClr val="tx2"/>
          </a:solidFill>
          <a:ln w="19050">
            <a:solidFill>
              <a:schemeClr val="tx1"/>
            </a:solidFill>
          </a:ln>
        </p:spPr>
        <p:txBody>
          <a:bodyPr lIns="216000" tIns="144000" rIns="216000" bIns="144000">
            <a:noAutofit/>
          </a:bodyPr>
          <a:lstStyle>
            <a:lvl1pPr>
              <a:defRPr>
                <a:solidFill>
                  <a:schemeClr val="bg1"/>
                </a:solidFill>
              </a:defRPr>
            </a:lvl1pPr>
            <a:lvl2pPr>
              <a:buClr>
                <a:schemeClr val="accent1"/>
              </a:buCl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vl6pPr>
              <a:buClr>
                <a:schemeClr val="accent1"/>
              </a:buClr>
              <a:defRPr>
                <a:solidFill>
                  <a:schemeClr val="bg1"/>
                </a:solidFill>
              </a:defRPr>
            </a:lvl6pPr>
            <a:lvl7pPr>
              <a:buClr>
                <a:schemeClr val="accent1"/>
              </a:buClr>
              <a:defRPr>
                <a:solidFill>
                  <a:schemeClr val="bg1"/>
                </a:solidFill>
              </a:defRPr>
            </a:lvl7pPr>
            <a:lvl8pPr>
              <a:buClr>
                <a:schemeClr val="accent1"/>
              </a:buClr>
              <a:defRPr>
                <a:solidFill>
                  <a:schemeClr val="bg1"/>
                </a:solidFill>
              </a:defRPr>
            </a:lvl8pPr>
            <a:lvl9pPr>
              <a:buClr>
                <a:schemeClr val="accent1"/>
              </a:buClr>
              <a:defRPr>
                <a:solidFill>
                  <a:schemeClr val="bg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ooter Placeholder">
            <a:extLst>
              <a:ext uri="{FF2B5EF4-FFF2-40B4-BE49-F238E27FC236}">
                <a16:creationId xmlns:a16="http://schemas.microsoft.com/office/drawing/2014/main" id="{91FCCEDD-7521-4BD5-8A32-A62DA6246709}"/>
              </a:ext>
            </a:extLst>
          </p:cNvPr>
          <p:cNvSpPr>
            <a:spLocks noGrp="1"/>
          </p:cNvSpPr>
          <p:nvPr>
            <p:ph type="ftr" sz="quarter" idx="14"/>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7" name="Slide Number Placeholder">
            <a:extLst>
              <a:ext uri="{FF2B5EF4-FFF2-40B4-BE49-F238E27FC236}">
                <a16:creationId xmlns:a16="http://schemas.microsoft.com/office/drawing/2014/main" id="{DC2AAE3E-7F56-4838-BCE7-6B966549F4DA}"/>
              </a:ext>
            </a:extLst>
          </p:cNvPr>
          <p:cNvSpPr>
            <a:spLocks noGrp="1"/>
          </p:cNvSpPr>
          <p:nvPr>
            <p:ph type="sldNum" sz="quarter" idx="15"/>
          </p:nvPr>
        </p:nvSpPr>
        <p:spPr/>
        <p:txBody>
          <a:body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E5DDD55C-5C17-4BCD-A9BB-FE8A69DC48D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41000860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4975">
          <p15:clr>
            <a:srgbClr val="65CEFF"/>
          </p15:clr>
        </p15:guide>
        <p15:guide id="5" pos="5157">
          <p15:clr>
            <a:srgbClr val="65CEFF"/>
          </p15:clr>
        </p15:guide>
        <p15:guide id="6" pos="6472">
          <p15:clr>
            <a:srgbClr val="65CEFF"/>
          </p15:clr>
        </p15:guide>
        <p15:guide id="7" pos="7425">
          <p15:clr>
            <a:srgbClr val="65CEFF"/>
          </p15:clr>
        </p15:guide>
        <p15:guide id="8" orient="horz" pos="302">
          <p15:clr>
            <a:srgbClr val="65CEFF"/>
          </p15:clr>
        </p15:guide>
        <p15:guide id="9" orient="horz" pos="664">
          <p15:clr>
            <a:srgbClr val="65CEFF"/>
          </p15:clr>
        </p15:guide>
        <p15:guide id="10" orient="horz" pos="891">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Quote light">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760" cy="4104000"/>
          </a:xfrm>
        </p:spPr>
        <p:txBody>
          <a:bodyPr>
            <a:noAutofit/>
          </a:bodyPr>
          <a:lstStyle>
            <a:lvl1pPr marL="0">
              <a:lnSpc>
                <a:spcPct val="110000"/>
              </a:lnSpc>
              <a:spcAft>
                <a:spcPts val="0"/>
              </a:spcAft>
              <a:defRPr sz="4800" b="0">
                <a:solidFill>
                  <a:schemeClr val="tx2"/>
                </a:solidFill>
              </a:defRPr>
            </a:lvl1pPr>
            <a:lvl2pPr marL="36000" indent="0">
              <a:lnSpc>
                <a:spcPct val="110000"/>
              </a:lnSpc>
              <a:spcBef>
                <a:spcPts val="600"/>
              </a:spcBef>
              <a:spcAft>
                <a:spcPts val="0"/>
              </a:spcAft>
              <a:buNone/>
              <a:defRPr sz="1800">
                <a:solidFill>
                  <a:schemeClr val="tx1"/>
                </a:solidFill>
              </a:defRPr>
            </a:lvl2pPr>
            <a:lvl3pPr marL="36000" indent="0">
              <a:lnSpc>
                <a:spcPct val="110000"/>
              </a:lnSpc>
              <a:spcBef>
                <a:spcPts val="600"/>
              </a:spcBef>
              <a:spcAft>
                <a:spcPts val="0"/>
              </a:spcAft>
              <a:buNone/>
              <a:defRPr sz="1800">
                <a:solidFill>
                  <a:schemeClr val="accent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12" name="Quote marks">
            <a:extLst>
              <a:ext uri="{FF2B5EF4-FFF2-40B4-BE49-F238E27FC236}">
                <a16:creationId xmlns:a16="http://schemas.microsoft.com/office/drawing/2014/main" id="{58EF2AB0-A78A-44C9-9A7D-F20D9ED854E0}"/>
              </a:ext>
            </a:extLst>
          </p:cNvPr>
          <p:cNvSpPr/>
          <p:nvPr/>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endParaRPr lang="en-US"/>
          </a:p>
        </p:txBody>
      </p:sp>
      <p:sp>
        <p:nvSpPr>
          <p:cNvPr id="2" name="Footer Placeholder">
            <a:extLst>
              <a:ext uri="{FF2B5EF4-FFF2-40B4-BE49-F238E27FC236}">
                <a16:creationId xmlns:a16="http://schemas.microsoft.com/office/drawing/2014/main" id="{6AEDD147-ACC0-4A9C-9043-90612765C0FA}"/>
              </a:ext>
            </a:extLst>
          </p:cNvPr>
          <p:cNvSpPr>
            <a:spLocks noGrp="1"/>
          </p:cNvSpPr>
          <p:nvPr>
            <p:ph type="ftr" sz="quarter" idx="13"/>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3" name="Slide Number Placeholder">
            <a:extLst>
              <a:ext uri="{FF2B5EF4-FFF2-40B4-BE49-F238E27FC236}">
                <a16:creationId xmlns:a16="http://schemas.microsoft.com/office/drawing/2014/main" id="{4131F54F-C70B-4435-91E6-F995F83E6C69}"/>
              </a:ext>
            </a:extLst>
          </p:cNvPr>
          <p:cNvSpPr>
            <a:spLocks noGrp="1"/>
          </p:cNvSpPr>
          <p:nvPr>
            <p:ph type="sldNum" sz="quarter" idx="14"/>
          </p:nvPr>
        </p:nvSpPr>
        <p:spPr/>
        <p:txBody>
          <a:bodyPr/>
          <a:lstStyle/>
          <a:p>
            <a:r>
              <a:rPr lang="en-US"/>
              <a:t>Page </a:t>
            </a:r>
            <a:fld id="{15EBE321-CBB1-4E91-BD14-37C8D44326FB}" type="slidenum">
              <a:rPr lang="en-US" smtClean="0"/>
              <a:pPr/>
              <a:t>‹nr.›</a:t>
            </a:fld>
            <a:endParaRPr lang="en-US"/>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162720067"/>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91">
          <p15:clr>
            <a:srgbClr val="65CEFF"/>
          </p15:clr>
        </p15:guide>
        <p15:guide id="5" orient="horz" pos="1073">
          <p15:clr>
            <a:srgbClr val="65CEFF"/>
          </p15:clr>
        </p15:guide>
        <p15:guide id="6" orient="horz" pos="2206">
          <p15:clr>
            <a:srgbClr val="65CEFF"/>
          </p15:clr>
        </p15:guide>
        <p15:guide id="7" orient="horz" pos="2343">
          <p15:clr>
            <a:srgbClr val="65CEFF"/>
          </p15:clr>
        </p15:guide>
        <p15:guide id="8" orient="horz" pos="3658">
          <p15:clr>
            <a:srgbClr val="65CEFF"/>
          </p15:clr>
        </p15:guide>
        <p15:guide id="9" orient="horz" pos="3885">
          <p15:clr>
            <a:srgbClr val="65CEFF"/>
          </p15:clr>
        </p15:guide>
        <p15:guide id="10" orient="horz" pos="4157">
          <p15:clr>
            <a:srgbClr val="65CEF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ote dark">
    <p:bg>
      <p:bgPr>
        <a:solidFill>
          <a:schemeClr val="bg2"/>
        </a:solidFill>
        <a:effectLst/>
      </p:bgPr>
    </p:bg>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000" cy="4104000"/>
          </a:xfrm>
        </p:spPr>
        <p:txBody>
          <a:bodyPr>
            <a:noAutofit/>
          </a:bodyPr>
          <a:lstStyle>
            <a:lvl1pPr marL="0">
              <a:lnSpc>
                <a:spcPct val="110000"/>
              </a:lnSpc>
              <a:spcAft>
                <a:spcPts val="0"/>
              </a:spcAft>
              <a:defRPr sz="48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11" name="Quote marks">
            <a:extLst>
              <a:ext uri="{FF2B5EF4-FFF2-40B4-BE49-F238E27FC236}">
                <a16:creationId xmlns:a16="http://schemas.microsoft.com/office/drawing/2014/main" id="{916E4245-F21C-4EAB-8B26-FEA21C26067F}"/>
              </a:ext>
            </a:extLst>
          </p:cNvPr>
          <p:cNvSpPr/>
          <p:nvPr userDrawn="1"/>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endParaRPr lang="en-US"/>
          </a:p>
        </p:txBody>
      </p:sp>
      <p:sp>
        <p:nvSpPr>
          <p:cNvPr id="2" name="Footer Placeholder">
            <a:extLst>
              <a:ext uri="{FF2B5EF4-FFF2-40B4-BE49-F238E27FC236}">
                <a16:creationId xmlns:a16="http://schemas.microsoft.com/office/drawing/2014/main" id="{EC4F35EF-AC94-4800-9CB7-CA49CAFDD249}"/>
              </a:ext>
            </a:extLst>
          </p:cNvPr>
          <p:cNvSpPr>
            <a:spLocks noGrp="1"/>
          </p:cNvSpPr>
          <p:nvPr>
            <p:ph type="ftr" sz="quarter" idx="13"/>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3" name="Slide Number Placeholder">
            <a:extLst>
              <a:ext uri="{FF2B5EF4-FFF2-40B4-BE49-F238E27FC236}">
                <a16:creationId xmlns:a16="http://schemas.microsoft.com/office/drawing/2014/main" id="{CCC7FBE7-01B9-4EC8-8BE1-F416F7C5B7AA}"/>
              </a:ext>
            </a:extLst>
          </p:cNvPr>
          <p:cNvSpPr>
            <a:spLocks noGrp="1"/>
          </p:cNvSpPr>
          <p:nvPr>
            <p:ph type="sldNum" sz="quarter" idx="14"/>
          </p:nvPr>
        </p:nvSpPr>
        <p:spPr/>
        <p:txBody>
          <a:bodyPr/>
          <a:lstStyle/>
          <a:p>
            <a:r>
              <a:rPr lang="en-US"/>
              <a:t>Page </a:t>
            </a:r>
            <a:fld id="{15EBE321-CBB1-4E91-BD14-37C8D44326FB}" type="slidenum">
              <a:rPr lang="en-US" smtClean="0"/>
              <a:pPr/>
              <a:t>‹nr.›</a:t>
            </a:fld>
            <a:endParaRPr lang="en-US"/>
          </a:p>
        </p:txBody>
      </p:sp>
      <p:pic>
        <p:nvPicPr>
          <p:cNvPr id="8" name="Siemens Logo">
            <a:extLst>
              <a:ext uri="{FF2B5EF4-FFF2-40B4-BE49-F238E27FC236}">
                <a16:creationId xmlns:a16="http://schemas.microsoft.com/office/drawing/2014/main" id="{AF2E271F-5AF7-408E-9752-03D1D6448EA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21373230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91">
          <p15:clr>
            <a:srgbClr val="65CEFF"/>
          </p15:clr>
        </p15:guide>
        <p15:guide id="5" orient="horz" pos="1073">
          <p15:clr>
            <a:srgbClr val="65CEFF"/>
          </p15:clr>
        </p15:guide>
        <p15:guide id="6" orient="horz" pos="3658">
          <p15:clr>
            <a:srgbClr val="65CEFF"/>
          </p15:clr>
        </p15:guide>
        <p15:guide id="7" orient="horz" pos="3885">
          <p15:clr>
            <a:srgbClr val="65CEFF"/>
          </p15:clr>
        </p15:guide>
        <p15:guide id="8" orient="horz" pos="4157">
          <p15:clr>
            <a:srgbClr val="65CE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picture Gradient 36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a:t>Click to edit </a:t>
            </a:r>
            <a:br>
              <a:rPr lang="en-US"/>
            </a:br>
            <a:r>
              <a:rPr lang="en-US"/>
              <a:t>Master title style </a:t>
            </a:r>
            <a:br>
              <a:rPr lang="en-US"/>
            </a:br>
            <a:r>
              <a:rPr lang="en-US"/>
              <a:t>36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36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94495025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tatement ligh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a:xfrm>
            <a:off x="986400" y="1271538"/>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de-DE"/>
              <a:t>Mastertitelformat bearbeiten</a:t>
            </a:r>
            <a:endParaRPr lang="en-US"/>
          </a:p>
        </p:txBody>
      </p:sp>
      <p:sp>
        <p:nvSpPr>
          <p:cNvPr id="2" name="Footer Placeholder">
            <a:extLst>
              <a:ext uri="{FF2B5EF4-FFF2-40B4-BE49-F238E27FC236}">
                <a16:creationId xmlns:a16="http://schemas.microsoft.com/office/drawing/2014/main" id="{39F9E844-3827-4B6C-9CB5-13C9A70DCD4D}"/>
              </a:ext>
            </a:extLst>
          </p:cNvPr>
          <p:cNvSpPr>
            <a:spLocks noGrp="1"/>
          </p:cNvSpPr>
          <p:nvPr>
            <p:ph type="ftr" sz="quarter" idx="10"/>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3" name="Slide Number Placeholder">
            <a:extLst>
              <a:ext uri="{FF2B5EF4-FFF2-40B4-BE49-F238E27FC236}">
                <a16:creationId xmlns:a16="http://schemas.microsoft.com/office/drawing/2014/main" id="{D52C2AF7-8539-453F-BD56-35B696DB2073}"/>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3008532373"/>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tatement dark">
    <p:bg>
      <p:bgRef idx="1001">
        <a:schemeClr val="bg2"/>
      </p:bgRef>
    </p:bg>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a:xfrm>
            <a:off x="986400" y="1270799"/>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de-DE"/>
              <a:t>Mastertitelformat bearbeiten</a:t>
            </a:r>
            <a:endParaRPr lang="en-US"/>
          </a:p>
        </p:txBody>
      </p:sp>
      <p:sp>
        <p:nvSpPr>
          <p:cNvPr id="2" name="Footer Placeholder">
            <a:extLst>
              <a:ext uri="{FF2B5EF4-FFF2-40B4-BE49-F238E27FC236}">
                <a16:creationId xmlns:a16="http://schemas.microsoft.com/office/drawing/2014/main" id="{09BD8BE5-BFF2-469D-8B93-9556FCC45CF1}"/>
              </a:ext>
            </a:extLst>
          </p:cNvPr>
          <p:cNvSpPr>
            <a:spLocks noGrp="1"/>
          </p:cNvSpPr>
          <p:nvPr>
            <p:ph type="ftr" sz="quarter" idx="10"/>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3" name="Slide Number Placeholder">
            <a:extLst>
              <a:ext uri="{FF2B5EF4-FFF2-40B4-BE49-F238E27FC236}">
                <a16:creationId xmlns:a16="http://schemas.microsoft.com/office/drawing/2014/main" id="{F9372441-FA7E-4481-BBC2-24CB6D3017C8}"/>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4" name="Siemens Logo">
            <a:extLst>
              <a:ext uri="{FF2B5EF4-FFF2-40B4-BE49-F238E27FC236}">
                <a16:creationId xmlns:a16="http://schemas.microsoft.com/office/drawing/2014/main" id="{0EF6BB07-4F4E-4859-9572-DA63E35B93A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8646532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2"/>
      </p:bgRef>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B29E3DA4-014E-4F3D-8186-84366ADFCB03}"/>
              </a:ext>
            </a:extLst>
          </p:cNvPr>
          <p:cNvSpPr>
            <a:spLocks noGrp="1"/>
          </p:cNvSpPr>
          <p:nvPr>
            <p:ph type="title" hasCustomPrompt="1"/>
          </p:nvPr>
        </p:nvSpPr>
        <p:spPr>
          <a:xfrm>
            <a:off x="411163" y="1234800"/>
            <a:ext cx="9863237" cy="1162523"/>
          </a:xfrm>
          <a:blipFill dpi="0" rotWithShape="1">
            <a:blip r:embed="rId2">
              <a:extLst>
                <a:ext uri="{96DAC541-7B7A-43D3-8B79-37D633B846F1}">
                  <asvg:svgBlip xmlns:asvg="http://schemas.microsoft.com/office/drawing/2016/SVG/main" r:embed="rId3"/>
                </a:ext>
              </a:extLst>
            </a:blip>
            <a:srcRect/>
            <a:stretch>
              <a:fillRect/>
            </a:stretch>
          </a:blipFill>
        </p:spPr>
        <p:txBody>
          <a:bodyPr wrap="square" lIns="0" tIns="54000" rIns="0" bIns="0" anchor="t" anchorCtr="0">
            <a:spAutoFit/>
          </a:bodyPr>
          <a:lstStyle>
            <a:lvl1pPr marL="540000">
              <a:defRPr sz="8000">
                <a:solidFill>
                  <a:schemeClr val="tx1"/>
                </a:solidFill>
              </a:defRPr>
            </a:lvl1pPr>
          </a:lstStyle>
          <a:p>
            <a:r>
              <a:rPr lang="en-US"/>
              <a:t>Contact</a:t>
            </a:r>
          </a:p>
        </p:txBody>
      </p:sp>
      <p:sp>
        <p:nvSpPr>
          <p:cNvPr id="3" name="Copy">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1058400"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lvl2pPr>
            <a:lvl3pPr marL="180000" indent="-180000" algn="l">
              <a:spcAft>
                <a:spcPts val="0"/>
              </a:spcAft>
              <a:buFont typeface="Arial" panose="020B0604020202020204" pitchFamily="34" charset="0"/>
              <a:buChar char="•"/>
              <a:defRPr sz="1400" b="0"/>
            </a:lvl3pPr>
            <a:lvl4pPr marL="360000" indent="-180000" algn="l">
              <a:spcAft>
                <a:spcPts val="0"/>
              </a:spcAft>
              <a:buFont typeface="Arial" panose="020B0604020202020204" pitchFamily="34" charset="0"/>
              <a:buChar char="•"/>
              <a:defRPr sz="1400"/>
            </a:lvl4pPr>
            <a:lvl5pPr marL="360000" indent="-180000" algn="l">
              <a:spcAft>
                <a:spcPts val="0"/>
              </a:spcAft>
              <a:buFont typeface="Arial" panose="020B0604020202020204" pitchFamily="34" charset="0"/>
              <a:buChar char="•"/>
              <a:defRPr sz="1400" b="1"/>
            </a:lvl5pPr>
            <a:lvl6pPr marL="540000" indent="-180000" algn="l">
              <a:spcAft>
                <a:spcPts val="0"/>
              </a:spcAft>
              <a:buFont typeface="Arial" panose="020B0604020202020204" pitchFamily="34" charset="0"/>
              <a:buChar char="•"/>
              <a:defRPr sz="1400"/>
            </a:lvl6pPr>
            <a:lvl7pPr marL="540000" indent="-180000" algn="l">
              <a:spcAft>
                <a:spcPts val="0"/>
              </a:spcAft>
              <a:buFont typeface="Arial" panose="020B0604020202020204" pitchFamily="34" charset="0"/>
              <a:buChar char="•"/>
              <a:defRPr sz="1400" b="1"/>
            </a:lvl7pPr>
            <a:lvl8pPr marL="720000" indent="-180000" algn="l">
              <a:spcAft>
                <a:spcPts val="0"/>
              </a:spcAft>
              <a:buFont typeface="Arial" panose="020B0604020202020204" pitchFamily="34" charset="0"/>
              <a:buChar char="•"/>
              <a:defRPr sz="1400"/>
            </a:lvl8pPr>
            <a:lvl9pPr marL="720000" indent="-180000" algn="l">
              <a:spcAft>
                <a:spcPts val="0"/>
              </a:spcAft>
              <a:buFont typeface="Arial" panose="020B0604020202020204" pitchFamily="34" charset="0"/>
              <a:buChar char="•"/>
              <a:defRPr sz="1400" b="1"/>
            </a:lvl9pPr>
          </a:lstStyle>
          <a:p>
            <a:pPr lvl="0"/>
            <a:r>
              <a:rPr lang="en-US"/>
              <a:t>Click to edit the contact</a:t>
            </a:r>
          </a:p>
          <a:p>
            <a:pPr lvl="1"/>
            <a:r>
              <a:rPr lang="en-US"/>
              <a:t>Name etc.</a:t>
            </a:r>
          </a:p>
          <a:p>
            <a:pPr lvl="2"/>
            <a:r>
              <a:rPr lang="en-US"/>
              <a:t>Department etc.</a:t>
            </a:r>
          </a:p>
          <a:p>
            <a:pPr lvl="3"/>
            <a:r>
              <a:rPr lang="en-US"/>
              <a:t>subchapter</a:t>
            </a:r>
          </a:p>
          <a:p>
            <a:pPr lvl="4"/>
            <a:r>
              <a:rPr lang="en-US"/>
              <a:t>active subchapter</a:t>
            </a:r>
          </a:p>
        </p:txBody>
      </p:sp>
      <p:sp>
        <p:nvSpPr>
          <p:cNvPr id="8" name="Footer Placeholder">
            <a:extLst>
              <a:ext uri="{FF2B5EF4-FFF2-40B4-BE49-F238E27FC236}">
                <a16:creationId xmlns:a16="http://schemas.microsoft.com/office/drawing/2014/main" id="{3279A350-3BB2-4CA2-A422-8F5A951F6F64}"/>
              </a:ext>
            </a:extLst>
          </p:cNvPr>
          <p:cNvSpPr>
            <a:spLocks noGrp="1"/>
          </p:cNvSpPr>
          <p:nvPr>
            <p:ph type="ftr" sz="quarter" idx="10"/>
          </p:nvPr>
        </p:nvSpPr>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9" name="Slide Number Placeholder">
            <a:extLst>
              <a:ext uri="{FF2B5EF4-FFF2-40B4-BE49-F238E27FC236}">
                <a16:creationId xmlns:a16="http://schemas.microsoft.com/office/drawing/2014/main" id="{CFF9630D-791D-45AE-8E5E-36F747F599E9}"/>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5FD2C39E-5D81-4A0E-9F45-909328900889}"/>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594019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778">
          <p15:clr>
            <a:srgbClr val="65CEFF"/>
          </p15:clr>
        </p15:guide>
        <p15:guide id="5" orient="horz" pos="3658">
          <p15:clr>
            <a:srgbClr val="65CEFF"/>
          </p15:clr>
        </p15:guide>
        <p15:guide id="6" orient="horz" pos="4157">
          <p15:clr>
            <a:srgbClr val="65CE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icture Gradient 90° 48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a:t>Click to edit </a:t>
            </a:r>
            <a:br>
              <a:rPr lang="en-US"/>
            </a:br>
            <a:r>
              <a:rPr lang="en-US"/>
              <a:t>Master title style 48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48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6114711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picture Gradient 90° 40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a:t>Click to edit </a:t>
            </a:r>
            <a:br>
              <a:rPr lang="en-US"/>
            </a:br>
            <a:r>
              <a:rPr lang="en-US"/>
              <a:t>Master title style 4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40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2629908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icture Gradient 90° 36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a:t>Click to edit </a:t>
            </a:r>
            <a:br>
              <a:rPr lang="en-US"/>
            </a:br>
            <a:r>
              <a:rPr lang="en-US"/>
              <a:t>Master title style </a:t>
            </a:r>
            <a:br>
              <a:rPr lang="en-US"/>
            </a:br>
            <a:r>
              <a:rPr lang="en-US"/>
              <a:t>36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line for headline size 36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7222647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picture Gradient Green 48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a:t>Click to edit </a:t>
            </a:r>
            <a:br>
              <a:rPr lang="en-US"/>
            </a:br>
            <a:r>
              <a:rPr lang="en-US"/>
              <a:t>Master title style 48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48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967420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eep Blue 60pt">
    <p:bg>
      <p:bgRef idx="1001">
        <a:schemeClr val="bg2"/>
      </p:bgRef>
    </p:bg>
    <p:spTree>
      <p:nvGrpSpPr>
        <p:cNvPr id="1" name=""/>
        <p:cNvGrpSpPr/>
        <p:nvPr/>
      </p:nvGrpSpPr>
      <p:grpSpPr>
        <a:xfrm>
          <a:off x="0" y="0"/>
          <a:ext cx="0" cy="0"/>
          <a:chOff x="0" y="0"/>
          <a:chExt cx="0" cy="0"/>
        </a:xfrm>
      </p:grpSpPr>
      <p:pic>
        <p:nvPicPr>
          <p:cNvPr id="7" name="Cognisphere" descr="A close up of a light&#10;&#10;Description automatically generated">
            <a:extLst>
              <a:ext uri="{FF2B5EF4-FFF2-40B4-BE49-F238E27FC236}">
                <a16:creationId xmlns:a16="http://schemas.microsoft.com/office/drawing/2014/main" id="{F50DEF7C-D243-494F-A738-41FC9AF515A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a:t>Click to edit </a:t>
            </a:r>
            <a:br>
              <a:rPr lang="en-US"/>
            </a:br>
            <a:r>
              <a:rPr lang="en-US"/>
              <a:t>Master title style</a:t>
            </a:r>
            <a:br>
              <a:rPr lang="en-US"/>
            </a:br>
            <a:r>
              <a:rPr lang="en-US"/>
              <a:t>M3 lines 6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2"/>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Restricted | © Siemens 20XX | Author | Department | YYYY-MM-DD</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429129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icture Gradient Green 40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a:t>Click to edit </a:t>
            </a:r>
            <a:br>
              <a:rPr lang="en-US"/>
            </a:br>
            <a:r>
              <a:rPr lang="en-US"/>
              <a:t>Master title style 4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40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649866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icture Gradient Green 36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a:t>Click to edit </a:t>
            </a:r>
            <a:br>
              <a:rPr lang="en-US"/>
            </a:br>
            <a:r>
              <a:rPr lang="en-US"/>
              <a:t>Master title style </a:t>
            </a:r>
            <a:br>
              <a:rPr lang="en-US"/>
            </a:br>
            <a:r>
              <a:rPr lang="en-US"/>
              <a:t>36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36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72249203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icture Gradient Blue 48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a:t>Click to edit </a:t>
            </a:r>
            <a:br>
              <a:rPr lang="en-US"/>
            </a:br>
            <a:r>
              <a:rPr lang="en-US"/>
              <a:t>Master title style 48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48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4203412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icture Gradient Blue 40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a:t>Click to edit </a:t>
            </a:r>
            <a:br>
              <a:rPr lang="en-US"/>
            </a:br>
            <a:r>
              <a:rPr lang="en-US"/>
              <a:t>Master title style 4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40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088153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picture Gradient Blue 36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a:t>Click to edit </a:t>
            </a:r>
            <a:br>
              <a:rPr lang="en-US"/>
            </a:br>
            <a:r>
              <a:rPr lang="en-US"/>
              <a:t>Master title style </a:t>
            </a:r>
            <a:br>
              <a:rPr lang="en-US"/>
            </a:br>
            <a:r>
              <a:rPr lang="en-US"/>
              <a:t>36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36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87863908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title dark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a:t>Click to edit Master title style 8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399"/>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p:spPr>
        <p:txBody>
          <a:bodyPr/>
          <a:lstStyle/>
          <a:p>
            <a:r>
              <a:rPr lang="en-US"/>
              <a:t>Restricted | © Siemens 20XX | Author | Department | YYYY-MM-DD</a:t>
            </a:r>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70057514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pter title dark 6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a:t>Click to edit </a:t>
            </a:r>
            <a:br>
              <a:rPr lang="en-US"/>
            </a:br>
            <a:r>
              <a:rPr lang="en-US"/>
              <a:t>Master title style</a:t>
            </a:r>
            <a:br>
              <a:rPr lang="en-US"/>
            </a:br>
            <a:r>
              <a:rPr lang="en-US"/>
              <a:t>3 lines 6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2"/>
            <a:ext cx="9288000" cy="1622622"/>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p:spPr>
        <p:txBody>
          <a:bodyPr/>
          <a:lstStyle/>
          <a:p>
            <a:r>
              <a:rPr lang="en-US"/>
              <a:t>Restricted | © Siemens 20XX | Author | Department | YYYY-MM-DD</a:t>
            </a:r>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5619657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pter title dark 4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a:t>Click to edit </a:t>
            </a:r>
            <a:br>
              <a:rPr lang="en-US"/>
            </a:br>
            <a:r>
              <a:rPr lang="en-US"/>
              <a:t>Master title style</a:t>
            </a:r>
            <a:br>
              <a:rPr lang="en-US"/>
            </a:br>
            <a:r>
              <a:rPr lang="en-US"/>
              <a:t>extra long headlines</a:t>
            </a:r>
            <a:br>
              <a:rPr lang="en-US"/>
            </a:br>
            <a:r>
              <a:rPr lang="en-US"/>
              <a:t>4 lines 4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121"/>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p:spPr>
        <p:txBody>
          <a:bodyPr/>
          <a:lstStyle/>
          <a:p>
            <a:r>
              <a:rPr lang="en-US"/>
              <a:t>Restricted | © Siemens 20XX | Author | Department | YYYY-MM-DD</a:t>
            </a:r>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7966485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title light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a:t>Click to edit Master title style 8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p:spPr>
        <p:txBody>
          <a:bodyPr/>
          <a:lstStyle/>
          <a:p>
            <a:r>
              <a:rPr lang="en-US"/>
              <a:t>Restricted | © Siemens 20XX | Author | Department | YYYY-MM-DD</a:t>
            </a:r>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4FC1DCA2-253A-4E87-91E4-D402488C8D78}"/>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227362570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title light 6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a:t>Click to edit </a:t>
            </a:r>
            <a:br>
              <a:rPr lang="en-US"/>
            </a:br>
            <a:r>
              <a:rPr lang="en-US"/>
              <a:t>Master title style</a:t>
            </a:r>
            <a:br>
              <a:rPr lang="en-US"/>
            </a:br>
            <a:r>
              <a:rPr lang="en-US"/>
              <a:t>3 lines 6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1"/>
            <a:ext cx="9288000" cy="1622623"/>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p:spPr>
        <p:txBody>
          <a:bodyPr/>
          <a:lstStyle/>
          <a:p>
            <a:r>
              <a:rPr lang="en-US"/>
              <a:t>Restricted | © Siemens 20XX | Author | Department | YYYY-MM-DD</a:t>
            </a:r>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3543E2CC-A901-4194-A712-51CE520302B1}"/>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4041723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Deep Blue 40pt">
    <p:bg>
      <p:bgRef idx="1001">
        <a:schemeClr val="bg2"/>
      </p:bgRef>
    </p:bg>
    <p:spTree>
      <p:nvGrpSpPr>
        <p:cNvPr id="1" name=""/>
        <p:cNvGrpSpPr/>
        <p:nvPr/>
      </p:nvGrpSpPr>
      <p:grpSpPr>
        <a:xfrm>
          <a:off x="0" y="0"/>
          <a:ext cx="0" cy="0"/>
          <a:chOff x="0" y="0"/>
          <a:chExt cx="0" cy="0"/>
        </a:xfrm>
      </p:grpSpPr>
      <p:pic>
        <p:nvPicPr>
          <p:cNvPr id="7" name="Cognisphere" descr="A picture containing light, star&#10;&#10;Description automatically generated">
            <a:extLst>
              <a:ext uri="{FF2B5EF4-FFF2-40B4-BE49-F238E27FC236}">
                <a16:creationId xmlns:a16="http://schemas.microsoft.com/office/drawing/2014/main" id="{AA220E05-4C1E-4F58-BFC0-57C07A95F70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a:t>Click to edit </a:t>
            </a:r>
            <a:br>
              <a:rPr lang="en-US"/>
            </a:br>
            <a:r>
              <a:rPr lang="en-US"/>
              <a:t>Master title style</a:t>
            </a:r>
            <a:br>
              <a:rPr lang="en-US"/>
            </a:br>
            <a:r>
              <a:rPr lang="en-US"/>
              <a:t>extra long headlines</a:t>
            </a:r>
            <a:br>
              <a:rPr lang="en-US"/>
            </a:br>
            <a:r>
              <a:rPr lang="en-US"/>
              <a:t>4 lines 4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Restricted | © Siemens 20XX | Author | Department | YYYY-MM-DD</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48103293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title light 4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399" y="1414463"/>
            <a:ext cx="11370437"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a:t>Click to edit </a:t>
            </a:r>
            <a:br>
              <a:rPr lang="en-US"/>
            </a:br>
            <a:r>
              <a:rPr lang="en-US"/>
              <a:t>Master title style</a:t>
            </a:r>
            <a:br>
              <a:rPr lang="en-US"/>
            </a:br>
            <a:r>
              <a:rPr lang="en-US"/>
              <a:t>extra long headlines</a:t>
            </a:r>
            <a:br>
              <a:rPr lang="en-US"/>
            </a:br>
            <a:r>
              <a:rPr lang="en-US"/>
              <a:t>4 lines 4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p:spPr>
        <p:txBody>
          <a:bodyPr/>
          <a:lstStyle/>
          <a:p>
            <a:r>
              <a:rPr lang="en-US"/>
              <a:t>Restricted | © Siemens 20XX | Author | Department | YYYY-MM-DD</a:t>
            </a:r>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2A2349A4-4A97-42CC-AE59-7EDEE385EDFA}"/>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5680344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dex / Agenda">
    <p:spTree>
      <p:nvGrpSpPr>
        <p:cNvPr id="1" name=""/>
        <p:cNvGrpSpPr/>
        <p:nvPr/>
      </p:nvGrpSpPr>
      <p:grpSpPr>
        <a:xfrm>
          <a:off x="0" y="0"/>
          <a:ext cx="0" cy="0"/>
          <a:chOff x="0" y="0"/>
          <a:chExt cx="0" cy="0"/>
        </a:xfrm>
      </p:grpSpPr>
      <p:pic>
        <p:nvPicPr>
          <p:cNvPr id="8" name="Cognisphere" descr="A picture containing chart&#10;&#10;Description automatically generated">
            <a:extLst>
              <a:ext uri="{FF2B5EF4-FFF2-40B4-BE49-F238E27FC236}">
                <a16:creationId xmlns:a16="http://schemas.microsoft.com/office/drawing/2014/main" id="{FEC69F24-2876-47B9-A4B6-0ADE800ECDDB}"/>
              </a:ext>
            </a:extLst>
          </p:cNvPr>
          <p:cNvPicPr>
            <a:picLocks noChangeAspect="1"/>
          </p:cNvPicPr>
          <p:nvPr userDrawn="1"/>
        </p:nvPicPr>
        <p:blipFill rotWithShape="1">
          <a:blip r:embed="rId2" cstate="print">
            <a:alphaModFix amt="6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a:xfrm>
            <a:off x="410400" y="478800"/>
            <a:ext cx="5904675" cy="576000"/>
          </a:xfrm>
        </p:spPr>
        <p:txBody>
          <a:bodyPr/>
          <a:lstStyle/>
          <a:p>
            <a:r>
              <a:rPr lang="en-US"/>
              <a:t>Click to edit Master title style</a:t>
            </a:r>
          </a:p>
        </p:txBody>
      </p:sp>
      <p:sp>
        <p:nvSpPr>
          <p:cNvPr id="4" name="Copy">
            <a:extLst>
              <a:ext uri="{FF2B5EF4-FFF2-40B4-BE49-F238E27FC236}">
                <a16:creationId xmlns:a16="http://schemas.microsoft.com/office/drawing/2014/main" id="{0E701EC8-7FC1-42BE-915D-048C74A40E0C}"/>
              </a:ext>
            </a:extLst>
          </p:cNvPr>
          <p:cNvSpPr>
            <a:spLocks noGrp="1"/>
          </p:cNvSpPr>
          <p:nvPr>
            <p:ph type="body" sz="quarter" idx="12"/>
          </p:nvPr>
        </p:nvSpPr>
        <p:spPr>
          <a:xfrm>
            <a:off x="411163" y="1414463"/>
            <a:ext cx="5903912" cy="4751387"/>
          </a:xfrm>
        </p:spPr>
        <p:txBody>
          <a:bodyPr/>
          <a:lstStyle>
            <a:lvl1pPr>
              <a:spcAft>
                <a:spcPts val="900"/>
              </a:spcAft>
              <a:tabLst>
                <a:tab pos="5902325" algn="r"/>
              </a:tabLst>
              <a:defRPr/>
            </a:lvl1pPr>
            <a:lvl2pPr>
              <a:spcAft>
                <a:spcPts val="900"/>
              </a:spcAft>
              <a:tabLst>
                <a:tab pos="5902325" algn="r"/>
              </a:tabLst>
              <a:defRPr/>
            </a:lvl2pPr>
            <a:lvl3pPr marL="180000">
              <a:spcAft>
                <a:spcPts val="900"/>
              </a:spcAft>
              <a:tabLst>
                <a:tab pos="5902325" algn="r"/>
              </a:tabLst>
              <a:defRPr b="1"/>
            </a:lvl3pPr>
            <a:lvl4pPr marL="360000">
              <a:spcAft>
                <a:spcPts val="900"/>
              </a:spcAft>
              <a:tabLst>
                <a:tab pos="5902325" algn="r"/>
              </a:tabLst>
              <a:defRPr/>
            </a:lvl4pPr>
            <a:lvl5pPr marL="360000">
              <a:spcAft>
                <a:spcPts val="900"/>
              </a:spcAft>
              <a:tabLst>
                <a:tab pos="5902325" algn="r"/>
              </a:tabLst>
              <a:defRPr b="1"/>
            </a:lvl5pPr>
            <a:lvl6pPr marL="180000">
              <a:spcAft>
                <a:spcPts val="600"/>
              </a:spcAft>
              <a:tabLst>
                <a:tab pos="5902325" algn="r"/>
              </a:tabLst>
              <a:defRPr sz="1600"/>
            </a:lvl6pPr>
            <a:lvl7pPr marL="180000">
              <a:spcAft>
                <a:spcPts val="600"/>
              </a:spcAft>
              <a:tabLst>
                <a:tab pos="5902325" algn="r"/>
              </a:tabLst>
              <a:defRPr sz="1600" b="1"/>
            </a:lvl7pPr>
            <a:lvl8pPr marL="360000">
              <a:spcAft>
                <a:spcPts val="600"/>
              </a:spcAft>
              <a:tabLst>
                <a:tab pos="5902325" algn="r"/>
              </a:tabLst>
              <a:defRPr sz="1600"/>
            </a:lvl8pPr>
            <a:lvl9pPr marL="360000">
              <a:spcAft>
                <a:spcPts val="600"/>
              </a:spcAft>
              <a:tabLst>
                <a:tab pos="5902325" algn="r"/>
              </a:tabLst>
              <a:defRPr sz="1600"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n-US"/>
              <a:t>Restricted | © Siemens 20XX | Author | Department | YYYY-MM-DD</a:t>
            </a:r>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093177208"/>
      </p:ext>
    </p:extLst>
  </p:cSld>
  <p:clrMapOvr>
    <a:masterClrMapping/>
  </p:clrMapOvr>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f contents / Agenda">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n-US"/>
              <a:t>Restricted | © Siemens 20XX | Author | Department | YYYY-MM-DD</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49875437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en-US"/>
              <a:t>Click to edit Master title style</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n-US"/>
              <a:t>Restricted | © Siemens 20XX | Author | Department | YYYY-MM-DD</a:t>
            </a:r>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3721433279"/>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ree Content without logo">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en-US"/>
              <a:t>Click to edit Master title style</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n-US"/>
              <a:t>Restricted | © Siemens 20XX | Author | Department | YYYY-MM-DD</a:t>
            </a:r>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spTree>
    <p:extLst>
      <p:ext uri="{BB962C8B-B14F-4D97-AF65-F5344CB8AC3E}">
        <p14:creationId xmlns:p14="http://schemas.microsoft.com/office/powerpoint/2010/main" val="846473388"/>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12192000" cy="6167438"/>
          </a:xfrm>
          <a:solidFill>
            <a:schemeClr val="accent1"/>
          </a:solidFill>
        </p:spPr>
        <p:txBody>
          <a:bodyPr lIns="144000" tIns="108000" rIns="144000" bIns="108000"/>
          <a:lstStyle>
            <a:lvl1pPr marL="0" indent="0">
              <a:buNone/>
              <a:defRPr>
                <a:solidFill>
                  <a:schemeClr val="bg1"/>
                </a:solidFill>
              </a:defRPr>
            </a:lvl1pPr>
          </a:lstStyle>
          <a:p>
            <a:r>
              <a:rPr lang="en-US" noProof="0"/>
              <a:t>Full size picture</a:t>
            </a:r>
          </a:p>
        </p:txBody>
      </p:sp>
      <p:sp>
        <p:nvSpPr>
          <p:cNvPr id="2" name="Title">
            <a:extLst>
              <a:ext uri="{FF2B5EF4-FFF2-40B4-BE49-F238E27FC236}">
                <a16:creationId xmlns:a16="http://schemas.microsoft.com/office/drawing/2014/main" id="{3F142F7C-7BE3-40CB-8C53-6F7533073558}"/>
              </a:ext>
            </a:extLst>
          </p:cNvPr>
          <p:cNvSpPr>
            <a:spLocks noGrp="1"/>
          </p:cNvSpPr>
          <p:nvPr>
            <p:ph type="title" hasCustomPrompt="1"/>
          </p:nvPr>
        </p:nvSpPr>
        <p:spPr>
          <a:xfrm>
            <a:off x="1022400" y="1054100"/>
            <a:ext cx="9252000" cy="1491868"/>
          </a:xfrm>
          <a:noFill/>
        </p:spPr>
        <p:txBody>
          <a:bodyPr wrap="square" rIns="0" bIns="0" anchor="t">
            <a:spAutoFit/>
          </a:bodyPr>
          <a:lstStyle>
            <a:lvl1pPr marL="0">
              <a:lnSpc>
                <a:spcPct val="100000"/>
              </a:lnSpc>
              <a:defRPr sz="4800">
                <a:solidFill>
                  <a:schemeClr val="tx1"/>
                </a:solidFill>
              </a:defRPr>
            </a:lvl1pPr>
          </a:lstStyle>
          <a:p>
            <a:r>
              <a:rPr lang="en-US"/>
              <a:t>Click to edit </a:t>
            </a:r>
            <a:br>
              <a:rPr lang="en-US"/>
            </a:br>
            <a:r>
              <a:rPr lang="en-US"/>
              <a:t>Master title style</a:t>
            </a:r>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p>
            <a:pPr>
              <a:lnSpc>
                <a:spcPct val="100000"/>
              </a:lnSpc>
            </a:pPr>
            <a:r>
              <a:rPr lang="en-US"/>
              <a:t>Restricted | © Siemens 20XX | Author | Department | YYYY-MM-DD</a:t>
            </a:r>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89744599"/>
      </p:ext>
    </p:extLst>
  </p:cSld>
  <p:clrMapOvr>
    <a:masterClrMapping/>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2" orient="horz" pos="664">
          <p15:clr>
            <a:srgbClr val="65CEFF"/>
          </p15:clr>
        </p15:guide>
        <p15:guide id="17" orient="horz" pos="3885">
          <p15:clr>
            <a:srgbClr val="65CEFF"/>
          </p15:clr>
        </p15:guide>
        <p15:guide id="18" orient="horz" pos="4157">
          <p15:clr>
            <a:srgbClr val="65CE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ingle image (Text spotlight)">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7611160" cy="6167438"/>
          </a:xfrm>
          <a:solidFill>
            <a:schemeClr val="accent1"/>
          </a:solidFill>
        </p:spPr>
        <p:txBody>
          <a:bodyPr lIns="144000" tIns="108000" rIns="144000" bIns="108000"/>
          <a:lstStyle>
            <a:lvl1pPr marL="0" indent="0">
              <a:buNone/>
              <a:defRPr>
                <a:solidFill>
                  <a:schemeClr val="bg1"/>
                </a:solidFill>
              </a:defRPr>
            </a:lvl1pPr>
          </a:lstStyle>
          <a:p>
            <a:r>
              <a:rPr lang="en-US" noProof="0"/>
              <a:t>Picture</a:t>
            </a:r>
          </a:p>
        </p:txBody>
      </p:sp>
      <p:sp>
        <p:nvSpPr>
          <p:cNvPr id="2" name="Title">
            <a:extLst>
              <a:ext uri="{FF2B5EF4-FFF2-40B4-BE49-F238E27FC236}">
                <a16:creationId xmlns:a16="http://schemas.microsoft.com/office/drawing/2014/main" id="{AFFC798E-B633-4D30-A7C1-DC796BD8887A}"/>
              </a:ext>
            </a:extLst>
          </p:cNvPr>
          <p:cNvSpPr>
            <a:spLocks noGrp="1"/>
          </p:cNvSpPr>
          <p:nvPr>
            <p:ph type="title" hasCustomPrompt="1"/>
          </p:nvPr>
        </p:nvSpPr>
        <p:spPr>
          <a:xfrm>
            <a:off x="1022400" y="1054100"/>
            <a:ext cx="6156275" cy="2215991"/>
          </a:xfrm>
          <a:noFill/>
        </p:spPr>
        <p:txBody>
          <a:bodyPr wrap="square" rIns="0" bIns="0" anchor="t">
            <a:spAutoFit/>
          </a:bodyPr>
          <a:lstStyle>
            <a:lvl1pPr marL="0">
              <a:lnSpc>
                <a:spcPct val="100000"/>
              </a:lnSpc>
              <a:defRPr sz="4800">
                <a:solidFill>
                  <a:schemeClr val="tx1"/>
                </a:solidFill>
              </a:defRPr>
            </a:lvl1pPr>
          </a:lstStyle>
          <a:p>
            <a:r>
              <a:rPr lang="en-US"/>
              <a:t>Click to edit </a:t>
            </a:r>
            <a:br>
              <a:rPr lang="en-US"/>
            </a:br>
            <a:r>
              <a:rPr lang="en-US"/>
              <a:t>Master title style</a:t>
            </a:r>
            <a:br>
              <a:rPr lang="en-US"/>
            </a:br>
            <a:r>
              <a:rPr lang="en-US"/>
              <a:t>3 lines</a:t>
            </a:r>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a:xfrm>
            <a:off x="8042400" y="1054100"/>
            <a:ext cx="3744000" cy="5113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p>
            <a:pPr>
              <a:lnSpc>
                <a:spcPct val="100000"/>
              </a:lnSpc>
            </a:pPr>
            <a:r>
              <a:rPr lang="en-US"/>
              <a:t>Restricted | © Siemens 20XX | Author | Department | YYYY-MM-DD</a:t>
            </a:r>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3187301749"/>
      </p:ext>
    </p:extLst>
  </p:cSld>
  <p:clrMapOvr>
    <a:masterClrMapping/>
  </p:clrMapOvr>
  <p:extLst>
    <p:ext uri="{DCECCB84-F9BA-43D5-87BE-67443E8EF086}">
      <p15:sldGuideLst xmlns:p15="http://schemas.microsoft.com/office/powerpoint/2012/main">
        <p15:guide id="1" pos="259">
          <p15:clr>
            <a:srgbClr val="65CEFF"/>
          </p15:clr>
        </p15:guide>
        <p15:guide id="2" pos="4522">
          <p15:clr>
            <a:srgbClr val="65CEFF"/>
          </p15:clr>
        </p15:guide>
        <p15:guide id="3" pos="4794">
          <p15:clr>
            <a:srgbClr val="65CEFF"/>
          </p15:clr>
        </p15:guide>
        <p15:guide id="4" pos="5066">
          <p15:clr>
            <a:srgbClr val="65CEFF"/>
          </p15:clr>
        </p15:guide>
        <p15:guide id="5" pos="6472">
          <p15:clr>
            <a:srgbClr val="65CEFF"/>
          </p15:clr>
        </p15:guide>
        <p15:guide id="6" pos="7425">
          <p15:clr>
            <a:srgbClr val="65CEFF"/>
          </p15:clr>
        </p15:guide>
        <p15:guide id="7" orient="horz" pos="302">
          <p15:clr>
            <a:srgbClr val="65CEFF"/>
          </p15:clr>
        </p15:guide>
        <p15:guide id="8" orient="horz" pos="664">
          <p15:clr>
            <a:srgbClr val="65CEFF"/>
          </p15:clr>
        </p15:guide>
        <p15:guide id="9" orient="horz" pos="891">
          <p15:clr>
            <a:srgbClr val="65CEFF"/>
          </p15:clr>
        </p15:guide>
        <p15:guide id="10" orient="horz" pos="3658">
          <p15:clr>
            <a:srgbClr val="65CEFF"/>
          </p15:clr>
        </p15:guide>
        <p15:guide id="11" orient="horz" pos="3885">
          <p15:clr>
            <a:srgbClr val="65CEFF"/>
          </p15:clr>
        </p15:guide>
        <p15:guide id="12" orient="horz" pos="4157">
          <p15:clr>
            <a:srgbClr val="65CE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 bleed color Deep Blue (with key visual)">
    <p:bg>
      <p:bgRef idx="1001">
        <a:schemeClr val="bg2"/>
      </p:bgRef>
    </p:bg>
    <p:spTree>
      <p:nvGrpSpPr>
        <p:cNvPr id="1" name=""/>
        <p:cNvGrpSpPr/>
        <p:nvPr/>
      </p:nvGrpSpPr>
      <p:grpSpPr>
        <a:xfrm>
          <a:off x="0" y="0"/>
          <a:ext cx="0" cy="0"/>
          <a:chOff x="0" y="0"/>
          <a:chExt cx="0" cy="0"/>
        </a:xfrm>
      </p:grpSpPr>
      <p:pic>
        <p:nvPicPr>
          <p:cNvPr id="4" name="Cognisphere" descr="A picture containing fish, monitor, keyboard, computer&#10;&#10;Description automatically generated">
            <a:extLst>
              <a:ext uri="{FF2B5EF4-FFF2-40B4-BE49-F238E27FC236}">
                <a16:creationId xmlns:a16="http://schemas.microsoft.com/office/drawing/2014/main" id="{AE83F1C5-95B7-47C3-B837-8191D1E397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n-US"/>
              <a:t>Restricted | © Siemens 20XX | Author | Department | YYYY-MM-DD</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5956057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 bleed color Deep Blue">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n-US"/>
              <a:t>Restricted | © Siemens 20XX | Author | Department | YYYY-MM-DD</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4716382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 bleed color Gradient (with key visual)">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4" name="Cognisphere" descr="A picture containing sky, water, star&#10;&#10;Description automatically generated">
            <a:extLst>
              <a:ext uri="{FF2B5EF4-FFF2-40B4-BE49-F238E27FC236}">
                <a16:creationId xmlns:a16="http://schemas.microsoft.com/office/drawing/2014/main" id="{E2F7C1AE-8376-445B-98CD-DBE6E96E387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p>
            <a:pPr>
              <a:lnSpc>
                <a:spcPct val="100000"/>
              </a:lnSpc>
            </a:pPr>
            <a:r>
              <a:rPr lang="en-US"/>
              <a:t>Restricted | © Siemens 20XX | Author | Department | YYYY-MM-DD</a:t>
            </a:r>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30638942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Gradient DB–Petrol 8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7" name="Cognisphere" descr="Background pattern&#10;&#10;Description automatically generated">
            <a:extLst>
              <a:ext uri="{FF2B5EF4-FFF2-40B4-BE49-F238E27FC236}">
                <a16:creationId xmlns:a16="http://schemas.microsoft.com/office/drawing/2014/main" id="{70837433-2C09-4518-AF0D-697A97CAC3A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a:t>Click to edit Master title style 8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80 </a:t>
            </a:r>
            <a:r>
              <a:rPr lang="en-US" err="1"/>
              <a:t>pt</a:t>
            </a:r>
            <a:endParaRPr lang="en-US"/>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Restricted | © Siemens 20XX | Author | Department | YYYY-MM-DD</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1818901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ull bleed color Gradien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p>
            <a:pPr>
              <a:lnSpc>
                <a:spcPct val="100000"/>
              </a:lnSpc>
            </a:pPr>
            <a:r>
              <a:rPr lang="en-US"/>
              <a:t>Restricted | © Siemens 20XX | Author | Department | YYYY-MM-DD</a:t>
            </a:r>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9100061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e object (small)">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p>
            <a:r>
              <a:rPr lang="en-US"/>
              <a:t>Click to edit Master title style</a:t>
            </a:r>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7199313"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ooter Placeholder">
            <a:extLst>
              <a:ext uri="{FF2B5EF4-FFF2-40B4-BE49-F238E27FC236}">
                <a16:creationId xmlns:a16="http://schemas.microsoft.com/office/drawing/2014/main" id="{E519D384-FA09-4D60-95A8-589F157A93F4}"/>
              </a:ext>
            </a:extLst>
          </p:cNvPr>
          <p:cNvSpPr>
            <a:spLocks noGrp="1"/>
          </p:cNvSpPr>
          <p:nvPr>
            <p:ph type="ftr" sz="quarter" idx="10"/>
          </p:nvPr>
        </p:nvSpPr>
        <p:spPr/>
        <p:txBody>
          <a:bodyPr/>
          <a:lstStyle/>
          <a:p>
            <a:pPr>
              <a:lnSpc>
                <a:spcPct val="100000"/>
              </a:lnSpc>
            </a:pPr>
            <a:r>
              <a:rPr lang="en-US"/>
              <a:t>Restricted | © Siemens 20XX | Author | Department | YYYY-MM-DD</a:t>
            </a:r>
          </a:p>
        </p:txBody>
      </p:sp>
      <p:sp>
        <p:nvSpPr>
          <p:cNvPr id="6" name="Slide Number Placeholder">
            <a:extLst>
              <a:ext uri="{FF2B5EF4-FFF2-40B4-BE49-F238E27FC236}">
                <a16:creationId xmlns:a16="http://schemas.microsoft.com/office/drawing/2014/main" id="{7B1666FD-2258-443A-846C-6C7533C61D5C}"/>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8" name="Siemens Logo">
            <a:extLst>
              <a:ext uri="{FF2B5EF4-FFF2-40B4-BE49-F238E27FC236}">
                <a16:creationId xmlns:a16="http://schemas.microsoft.com/office/drawing/2014/main" id="{91EB517C-C8FD-4E2E-B744-DB952E96B47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23062790"/>
      </p:ext>
    </p:extLst>
  </p:cSld>
  <p:clrMapOvr>
    <a:masterClrMapping/>
  </p:clrMapOvr>
  <p:extLst>
    <p:ext uri="{DCECCB84-F9BA-43D5-87BE-67443E8EF086}">
      <p15:sldGuideLst xmlns:p15="http://schemas.microsoft.com/office/powerpoint/2012/main">
        <p15:guide id="1" pos="259">
          <p15:clr>
            <a:srgbClr val="65CEFF"/>
          </p15:clr>
        </p15:guide>
        <p15:guide id="2" pos="4794">
          <p15:clr>
            <a:srgbClr val="65CEFF"/>
          </p15:clr>
        </p15:guide>
        <p15:guide id="3" pos="6472">
          <p15:clr>
            <a:srgbClr val="65CEFF"/>
          </p15:clr>
        </p15:guide>
        <p15:guide id="4" pos="7425">
          <p15:clr>
            <a:srgbClr val="65CEFF"/>
          </p15:clr>
        </p15:guide>
        <p15:guide id="5" orient="horz" pos="302">
          <p15:clr>
            <a:srgbClr val="65CEFF"/>
          </p15:clr>
        </p15:guide>
        <p15:guide id="6" orient="horz" pos="664">
          <p15:clr>
            <a:srgbClr val="65CEFF"/>
          </p15:clr>
        </p15:guide>
        <p15:guide id="7" orient="horz" pos="891">
          <p15:clr>
            <a:srgbClr val="65CEFF"/>
          </p15:clr>
        </p15:guide>
        <p15:guide id="8" orient="horz" pos="3658">
          <p15:clr>
            <a:srgbClr val="65CEFF"/>
          </p15:clr>
        </p15:guide>
        <p15:guide id="9" orient="horz" pos="3885">
          <p15:clr>
            <a:srgbClr val="65CEFF"/>
          </p15:clr>
        </p15:guide>
        <p15:guide id="10" orient="horz" pos="4157">
          <p15:clr>
            <a:srgbClr val="65CE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ne object (large)">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p>
            <a:r>
              <a:rPr lang="en-US"/>
              <a:t>Click to edit Master title style</a:t>
            </a:r>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11376026"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ooter Placeholder">
            <a:extLst>
              <a:ext uri="{FF2B5EF4-FFF2-40B4-BE49-F238E27FC236}">
                <a16:creationId xmlns:a16="http://schemas.microsoft.com/office/drawing/2014/main" id="{7367E6C0-4D2C-4C5F-86D8-A2CFF0EB3D6A}"/>
              </a:ext>
            </a:extLst>
          </p:cNvPr>
          <p:cNvSpPr>
            <a:spLocks noGrp="1"/>
          </p:cNvSpPr>
          <p:nvPr>
            <p:ph type="ftr" sz="quarter" idx="10"/>
          </p:nvPr>
        </p:nvSpPr>
        <p:spPr/>
        <p:txBody>
          <a:bodyPr/>
          <a:lstStyle/>
          <a:p>
            <a:pPr>
              <a:lnSpc>
                <a:spcPct val="100000"/>
              </a:lnSpc>
            </a:pPr>
            <a:r>
              <a:rPr lang="en-US"/>
              <a:t>Restricted | © Siemens 20XX | Author | Department | YYYY-MM-DD</a:t>
            </a:r>
          </a:p>
        </p:txBody>
      </p:sp>
      <p:sp>
        <p:nvSpPr>
          <p:cNvPr id="6" name="Slide Number Placeholder">
            <a:extLst>
              <a:ext uri="{FF2B5EF4-FFF2-40B4-BE49-F238E27FC236}">
                <a16:creationId xmlns:a16="http://schemas.microsoft.com/office/drawing/2014/main" id="{6F746812-65E3-4C09-AC38-B0CFE93C8A95}"/>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59065071"/>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302">
          <p15:clr>
            <a:srgbClr val="65CEFF"/>
          </p15:clr>
        </p15:guide>
        <p15:guide id="5" orient="horz" pos="664">
          <p15:clr>
            <a:srgbClr val="65CEFF"/>
          </p15:clr>
        </p15:guide>
        <p15:guide id="6" orient="horz" pos="891">
          <p15:clr>
            <a:srgbClr val="65CEFF"/>
          </p15:clr>
        </p15:guide>
        <p15:guide id="7" orient="horz" pos="3658">
          <p15:clr>
            <a:srgbClr val="65CEFF"/>
          </p15:clr>
        </p15:guide>
        <p15:guide id="8" orient="horz" pos="3885">
          <p15:clr>
            <a:srgbClr val="65CEFF"/>
          </p15:clr>
        </p15:guide>
        <p15:guide id="9" orient="horz" pos="4157">
          <p15:clr>
            <a:srgbClr val="65CEF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ooter Placeholder">
            <a:extLst>
              <a:ext uri="{FF2B5EF4-FFF2-40B4-BE49-F238E27FC236}">
                <a16:creationId xmlns:a16="http://schemas.microsoft.com/office/drawing/2014/main" id="{33A503D1-D234-4258-9A03-D858B10BA46D}"/>
              </a:ext>
            </a:extLst>
          </p:cNvPr>
          <p:cNvSpPr>
            <a:spLocks noGrp="1"/>
          </p:cNvSpPr>
          <p:nvPr>
            <p:ph type="ftr" sz="quarter" idx="10"/>
          </p:nvPr>
        </p:nvSpPr>
        <p:spPr/>
        <p:txBody>
          <a:bodyPr/>
          <a:lstStyle/>
          <a:p>
            <a:pPr>
              <a:lnSpc>
                <a:spcPct val="100000"/>
              </a:lnSpc>
            </a:pPr>
            <a:r>
              <a:rPr lang="en-US"/>
              <a:t>Restricted | © Siemens 20XX | Author | Department | YYYY-MM-DD</a:t>
            </a:r>
          </a:p>
        </p:txBody>
      </p:sp>
      <p:sp>
        <p:nvSpPr>
          <p:cNvPr id="7" name="Slide Number Placeholder">
            <a:extLst>
              <a:ext uri="{FF2B5EF4-FFF2-40B4-BE49-F238E27FC236}">
                <a16:creationId xmlns:a16="http://schemas.microsoft.com/office/drawing/2014/main" id="{21AA656B-0BAF-4B75-90BE-93CAC5946C0B}"/>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89100790"/>
      </p:ext>
    </p:extLst>
  </p:cSld>
  <p:clrMapOvr>
    <a:masterClrMapping/>
  </p:clrMapOvr>
  <p:extLst>
    <p:ext uri="{DCECCB84-F9BA-43D5-87BE-67443E8EF086}">
      <p15:sldGuideLst xmlns:p15="http://schemas.microsoft.com/office/powerpoint/2012/main">
        <p15:guide id="1" pos="259">
          <p15:clr>
            <a:srgbClr val="65CEFF"/>
          </p15:clr>
        </p15:guide>
        <p15:guide id="2" pos="3705">
          <p15:clr>
            <a:srgbClr val="65CEFF"/>
          </p15:clr>
        </p15:guide>
        <p15:guide id="3" pos="3978">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4298400"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Copy 3">
            <a:extLst>
              <a:ext uri="{FF2B5EF4-FFF2-40B4-BE49-F238E27FC236}">
                <a16:creationId xmlns:a16="http://schemas.microsoft.com/office/drawing/2014/main" id="{F020B491-E63A-4FB5-94ED-2BC31EB35C33}"/>
              </a:ext>
            </a:extLst>
          </p:cNvPr>
          <p:cNvSpPr>
            <a:spLocks noGrp="1"/>
          </p:cNvSpPr>
          <p:nvPr>
            <p:ph sz="half" idx="12"/>
          </p:nvPr>
        </p:nvSpPr>
        <p:spPr>
          <a:xfrm>
            <a:off x="8186400" y="1414800"/>
            <a:ext cx="3600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ooter Placeholder">
            <a:extLst>
              <a:ext uri="{FF2B5EF4-FFF2-40B4-BE49-F238E27FC236}">
                <a16:creationId xmlns:a16="http://schemas.microsoft.com/office/drawing/2014/main" id="{E613FA68-C74A-4621-9563-250388EBCC8B}"/>
              </a:ext>
            </a:extLst>
          </p:cNvPr>
          <p:cNvSpPr>
            <a:spLocks noGrp="1"/>
          </p:cNvSpPr>
          <p:nvPr>
            <p:ph type="ftr" sz="quarter" idx="13"/>
          </p:nvPr>
        </p:nvSpPr>
        <p:spPr/>
        <p:txBody>
          <a:bodyPr/>
          <a:lstStyle/>
          <a:p>
            <a:pPr>
              <a:lnSpc>
                <a:spcPct val="100000"/>
              </a:lnSpc>
            </a:pPr>
            <a:r>
              <a:rPr lang="en-US"/>
              <a:t>Restricted | © Siemens 20XX | Author | Department | YYYY-MM-DD</a:t>
            </a:r>
          </a:p>
        </p:txBody>
      </p:sp>
      <p:sp>
        <p:nvSpPr>
          <p:cNvPr id="7" name="Slide Number Placeholder">
            <a:extLst>
              <a:ext uri="{FF2B5EF4-FFF2-40B4-BE49-F238E27FC236}">
                <a16:creationId xmlns:a16="http://schemas.microsoft.com/office/drawing/2014/main" id="{F9117D9C-D502-472C-A3C8-FA9087A2EDCE}"/>
              </a:ext>
            </a:extLst>
          </p:cNvPr>
          <p:cNvSpPr>
            <a:spLocks noGrp="1"/>
          </p:cNvSpPr>
          <p:nvPr>
            <p:ph type="sldNum" sz="quarter" idx="14"/>
          </p:nvPr>
        </p:nvSpPr>
        <p:spPr/>
        <p:txBody>
          <a:body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3014835146"/>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4975">
          <p15:clr>
            <a:srgbClr val="65CEFF"/>
          </p15:clr>
        </p15:guide>
        <p15:guide id="5" pos="5157">
          <p15:clr>
            <a:srgbClr val="65CEFF"/>
          </p15:clr>
        </p15:guide>
        <p15:guide id="6" pos="6472">
          <p15:clr>
            <a:srgbClr val="65CEFF"/>
          </p15:clr>
        </p15:guide>
        <p15:guide id="7" pos="7425">
          <p15:clr>
            <a:srgbClr val="65CEFF"/>
          </p15:clr>
        </p15:guide>
        <p15:guide id="8" orient="horz" pos="302">
          <p15:clr>
            <a:srgbClr val="65CEFF"/>
          </p15:clr>
        </p15:guide>
        <p15:guide id="9" orient="horz" pos="664">
          <p15:clr>
            <a:srgbClr val="65CEFF"/>
          </p15:clr>
        </p15:guide>
        <p15:guide id="10" orient="horz" pos="891">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object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Copy 2">
            <a:extLst>
              <a:ext uri="{FF2B5EF4-FFF2-40B4-BE49-F238E27FC236}">
                <a16:creationId xmlns:a16="http://schemas.microsoft.com/office/drawing/2014/main" id="{2871E7F7-6A93-4406-8617-80D9CFF396A8}"/>
              </a:ext>
            </a:extLst>
          </p:cNvPr>
          <p:cNvSpPr>
            <a:spLocks noGrp="1"/>
          </p:cNvSpPr>
          <p:nvPr>
            <p:ph sz="half" idx="12"/>
          </p:nvPr>
        </p:nvSpPr>
        <p:spPr>
          <a:xfrm>
            <a:off x="411162" y="3718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py 3">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Copy 4">
            <a:extLst>
              <a:ext uri="{FF2B5EF4-FFF2-40B4-BE49-F238E27FC236}">
                <a16:creationId xmlns:a16="http://schemas.microsoft.com/office/drawing/2014/main" id="{7AD3B9B1-3210-46C8-8222-A0E11719EB88}"/>
              </a:ext>
            </a:extLst>
          </p:cNvPr>
          <p:cNvSpPr>
            <a:spLocks noGrp="1"/>
          </p:cNvSpPr>
          <p:nvPr>
            <p:ph sz="half" idx="13"/>
          </p:nvPr>
        </p:nvSpPr>
        <p:spPr>
          <a:xfrm>
            <a:off x="6315075" y="3718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ooter Placeholder">
            <a:extLst>
              <a:ext uri="{FF2B5EF4-FFF2-40B4-BE49-F238E27FC236}">
                <a16:creationId xmlns:a16="http://schemas.microsoft.com/office/drawing/2014/main" id="{1DF6F0C8-00D9-4034-B3CC-D376702BE1C8}"/>
              </a:ext>
            </a:extLst>
          </p:cNvPr>
          <p:cNvSpPr>
            <a:spLocks noGrp="1"/>
          </p:cNvSpPr>
          <p:nvPr>
            <p:ph type="ftr" sz="quarter" idx="14"/>
          </p:nvPr>
        </p:nvSpPr>
        <p:spPr/>
        <p:txBody>
          <a:bodyPr/>
          <a:lstStyle/>
          <a:p>
            <a:pPr>
              <a:lnSpc>
                <a:spcPct val="100000"/>
              </a:lnSpc>
            </a:pPr>
            <a:r>
              <a:rPr lang="en-US"/>
              <a:t>Restricted | © Siemens 20XX | Author | Department | YYYY-MM-DD</a:t>
            </a:r>
          </a:p>
        </p:txBody>
      </p:sp>
      <p:sp>
        <p:nvSpPr>
          <p:cNvPr id="7" name="Slide Number Placeholder">
            <a:extLst>
              <a:ext uri="{FF2B5EF4-FFF2-40B4-BE49-F238E27FC236}">
                <a16:creationId xmlns:a16="http://schemas.microsoft.com/office/drawing/2014/main" id="{53D55964-F7E8-48E3-84D5-FE4FE835C563}"/>
              </a:ext>
            </a:extLst>
          </p:cNvPr>
          <p:cNvSpPr>
            <a:spLocks noGrp="1"/>
          </p:cNvSpPr>
          <p:nvPr>
            <p:ph type="sldNum" sz="quarter" idx="15"/>
          </p:nvPr>
        </p:nvSpPr>
        <p:spPr/>
        <p:txBody>
          <a:body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282059496"/>
      </p:ext>
    </p:extLst>
  </p:cSld>
  <p:clrMapOvr>
    <a:masterClrMapping/>
  </p:clrMapOvr>
  <p:extLst>
    <p:ext uri="{DCECCB84-F9BA-43D5-87BE-67443E8EF086}">
      <p15:sldGuideLst xmlns:p15="http://schemas.microsoft.com/office/powerpoint/2012/main">
        <p15:guide id="1" pos="259">
          <p15:clr>
            <a:srgbClr val="65CEFF"/>
          </p15:clr>
        </p15:guide>
        <p15:guide id="2" pos="3705">
          <p15:clr>
            <a:srgbClr val="65CEFF"/>
          </p15:clr>
        </p15:guide>
        <p15:guide id="3" pos="3978">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2206">
          <p15:clr>
            <a:srgbClr val="65CEFF"/>
          </p15:clr>
        </p15:guide>
        <p15:guide id="10" orient="horz" pos="2343">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s (Spot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568133C-15D2-4F33-802E-DF15E7891829}"/>
              </a:ext>
            </a:extLst>
          </p:cNvPr>
          <p:cNvSpPr>
            <a:spLocks noGrp="1"/>
          </p:cNvSpPr>
          <p:nvPr>
            <p:ph type="title"/>
          </p:nvPr>
        </p:nvSpPr>
        <p:spPr/>
        <p:txBody>
          <a:bodyPr/>
          <a:lstStyle/>
          <a:p>
            <a:r>
              <a:rPr lang="en-US"/>
              <a:t>Click to edit Master title style</a:t>
            </a:r>
          </a:p>
        </p:txBody>
      </p:sp>
      <p:sp>
        <p:nvSpPr>
          <p:cNvPr id="7" name="Picture Placeholder">
            <a:extLst>
              <a:ext uri="{FF2B5EF4-FFF2-40B4-BE49-F238E27FC236}">
                <a16:creationId xmlns:a16="http://schemas.microsoft.com/office/drawing/2014/main" id="{90866A30-329B-420B-B42B-2C69E0DE6D9B}"/>
              </a:ext>
            </a:extLst>
          </p:cNvPr>
          <p:cNvSpPr>
            <a:spLocks noGrp="1"/>
          </p:cNvSpPr>
          <p:nvPr>
            <p:ph type="pic" sz="quarter" idx="12"/>
          </p:nvPr>
        </p:nvSpPr>
        <p:spPr>
          <a:xfrm>
            <a:off x="411161" y="1414800"/>
            <a:ext cx="7199313" cy="4752000"/>
          </a:xfrm>
          <a:solidFill>
            <a:schemeClr val="bg2"/>
          </a:solidFill>
        </p:spPr>
        <p:txBody>
          <a:bodyPr>
            <a:noAutofit/>
          </a:bodyPr>
          <a:lstStyle/>
          <a:p>
            <a:endParaRPr lang="en-US"/>
          </a:p>
        </p:txBody>
      </p:sp>
      <p:sp>
        <p:nvSpPr>
          <p:cNvPr id="4" name="Copy">
            <a:extLst>
              <a:ext uri="{FF2B5EF4-FFF2-40B4-BE49-F238E27FC236}">
                <a16:creationId xmlns:a16="http://schemas.microsoft.com/office/drawing/2014/main" id="{BF3FF41E-3844-4153-B955-A1F3E9EC1D30}"/>
              </a:ext>
            </a:extLst>
          </p:cNvPr>
          <p:cNvSpPr>
            <a:spLocks noGrp="1"/>
          </p:cNvSpPr>
          <p:nvPr>
            <p:ph sz="half" idx="2"/>
          </p:nvPr>
        </p:nvSpPr>
        <p:spPr>
          <a:xfrm>
            <a:off x="8043189" y="1414800"/>
            <a:ext cx="3744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Footer Placeholder">
            <a:extLst>
              <a:ext uri="{FF2B5EF4-FFF2-40B4-BE49-F238E27FC236}">
                <a16:creationId xmlns:a16="http://schemas.microsoft.com/office/drawing/2014/main" id="{33756E69-CA2F-47EC-9D32-CB09C4CD83F1}"/>
              </a:ext>
            </a:extLst>
          </p:cNvPr>
          <p:cNvSpPr>
            <a:spLocks noGrp="1"/>
          </p:cNvSpPr>
          <p:nvPr>
            <p:ph type="ftr" sz="quarter" idx="13"/>
          </p:nvPr>
        </p:nvSpPr>
        <p:spPr/>
        <p:txBody>
          <a:bodyPr/>
          <a:lstStyle/>
          <a:p>
            <a:pPr>
              <a:lnSpc>
                <a:spcPct val="100000"/>
              </a:lnSpc>
            </a:pPr>
            <a:r>
              <a:rPr lang="en-US"/>
              <a:t>Restricted | © Siemens 20XX | Author | Department | YYYY-MM-DD</a:t>
            </a:r>
          </a:p>
        </p:txBody>
      </p:sp>
      <p:sp>
        <p:nvSpPr>
          <p:cNvPr id="5" name="Slide Number Placeholder">
            <a:extLst>
              <a:ext uri="{FF2B5EF4-FFF2-40B4-BE49-F238E27FC236}">
                <a16:creationId xmlns:a16="http://schemas.microsoft.com/office/drawing/2014/main" id="{95022CCB-0484-488B-8637-222C3919B0F7}"/>
              </a:ext>
            </a:extLst>
          </p:cNvPr>
          <p:cNvSpPr>
            <a:spLocks noGrp="1"/>
          </p:cNvSpPr>
          <p:nvPr>
            <p:ph type="sldNum" sz="quarter" idx="14"/>
          </p:nvPr>
        </p:nvSpPr>
        <p:spPr/>
        <p:txBody>
          <a:body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F468BE17-5D03-45C2-9D37-CF354AAA958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08471833"/>
      </p:ext>
    </p:extLst>
  </p:cSld>
  <p:clrMapOvr>
    <a:masterClrMapping/>
  </p:clrMapOvr>
  <p:extLst>
    <p:ext uri="{DCECCB84-F9BA-43D5-87BE-67443E8EF086}">
      <p15:sldGuideLst xmlns:p15="http://schemas.microsoft.com/office/powerpoint/2012/main">
        <p15:guide id="1" pos="259">
          <p15:clr>
            <a:srgbClr val="65CEFF"/>
          </p15:clr>
        </p15:guide>
        <p15:guide id="2" pos="4794">
          <p15:clr>
            <a:srgbClr val="65CEFF"/>
          </p15:clr>
        </p15:guide>
        <p15:guide id="3" pos="5066">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s without logo (Spot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0C7B869-3095-4D4F-B832-8B6077991AA5}"/>
              </a:ext>
            </a:extLst>
          </p:cNvPr>
          <p:cNvSpPr>
            <a:spLocks noGrp="1"/>
          </p:cNvSpPr>
          <p:nvPr>
            <p:ph type="title"/>
          </p:nvPr>
        </p:nvSpPr>
        <p:spPr/>
        <p:txBody>
          <a:bodyPr/>
          <a:lstStyle/>
          <a:p>
            <a:r>
              <a:rPr lang="en-US"/>
              <a:t>Click to edit Master title style</a:t>
            </a:r>
          </a:p>
        </p:txBody>
      </p:sp>
      <p:sp>
        <p:nvSpPr>
          <p:cNvPr id="9" name="Picture Placeholder">
            <a:extLst>
              <a:ext uri="{FF2B5EF4-FFF2-40B4-BE49-F238E27FC236}">
                <a16:creationId xmlns:a16="http://schemas.microsoft.com/office/drawing/2014/main" id="{299C05E6-AE55-4C36-8543-1DA3751542EB}"/>
              </a:ext>
            </a:extLst>
          </p:cNvPr>
          <p:cNvSpPr>
            <a:spLocks noGrp="1"/>
          </p:cNvSpPr>
          <p:nvPr>
            <p:ph type="pic" sz="quarter" idx="12"/>
          </p:nvPr>
        </p:nvSpPr>
        <p:spPr>
          <a:xfrm>
            <a:off x="411163" y="1414800"/>
            <a:ext cx="7199311" cy="4752000"/>
          </a:xfrm>
          <a:solidFill>
            <a:schemeClr val="bg2"/>
          </a:solidFill>
        </p:spPr>
        <p:txBody>
          <a:bodyPr/>
          <a:lstStyle/>
          <a:p>
            <a:endParaRPr lang="en-US"/>
          </a:p>
        </p:txBody>
      </p:sp>
      <p:sp>
        <p:nvSpPr>
          <p:cNvPr id="4" name="Copy">
            <a:extLst>
              <a:ext uri="{FF2B5EF4-FFF2-40B4-BE49-F238E27FC236}">
                <a16:creationId xmlns:a16="http://schemas.microsoft.com/office/drawing/2014/main" id="{BF3FF41E-3844-4153-B955-A1F3E9EC1D30}"/>
              </a:ext>
            </a:extLst>
          </p:cNvPr>
          <p:cNvSpPr>
            <a:spLocks noGrp="1"/>
          </p:cNvSpPr>
          <p:nvPr>
            <p:ph sz="half" idx="2"/>
          </p:nvPr>
        </p:nvSpPr>
        <p:spPr>
          <a:xfrm>
            <a:off x="8043189" y="1414800"/>
            <a:ext cx="3744000"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ooter Placeholder">
            <a:extLst>
              <a:ext uri="{FF2B5EF4-FFF2-40B4-BE49-F238E27FC236}">
                <a16:creationId xmlns:a16="http://schemas.microsoft.com/office/drawing/2014/main" id="{2BA12055-C879-45E9-A105-2B26D233C9D4}"/>
              </a:ext>
            </a:extLst>
          </p:cNvPr>
          <p:cNvSpPr>
            <a:spLocks noGrp="1"/>
          </p:cNvSpPr>
          <p:nvPr>
            <p:ph type="ftr" sz="quarter" idx="13"/>
          </p:nvPr>
        </p:nvSpPr>
        <p:spPr/>
        <p:txBody>
          <a:bodyPr/>
          <a:lstStyle/>
          <a:p>
            <a:pPr>
              <a:lnSpc>
                <a:spcPct val="100000"/>
              </a:lnSpc>
            </a:pPr>
            <a:r>
              <a:rPr lang="en-US"/>
              <a:t>Restricted | © Siemens 20XX | Author | Department | YYYY-MM-DD</a:t>
            </a:r>
          </a:p>
        </p:txBody>
      </p:sp>
      <p:sp>
        <p:nvSpPr>
          <p:cNvPr id="7" name="Slide Number Placeholder">
            <a:extLst>
              <a:ext uri="{FF2B5EF4-FFF2-40B4-BE49-F238E27FC236}">
                <a16:creationId xmlns:a16="http://schemas.microsoft.com/office/drawing/2014/main" id="{9AD82E40-8759-4AAC-B9F2-63E0F2C4CC7C}"/>
              </a:ext>
            </a:extLst>
          </p:cNvPr>
          <p:cNvSpPr>
            <a:spLocks noGrp="1"/>
          </p:cNvSpPr>
          <p:nvPr>
            <p:ph type="sldNum" sz="quarter" idx="14"/>
          </p:nvPr>
        </p:nvSpPr>
        <p:spPr/>
        <p:txBody>
          <a:bodyPr/>
          <a:lstStyle/>
          <a:p>
            <a:r>
              <a:rPr lang="en-US"/>
              <a:t>Page </a:t>
            </a:r>
            <a:fld id="{15EBE321-CBB1-4E91-BD14-37C8D44326FB}" type="slidenum">
              <a:rPr lang="en-US" smtClean="0"/>
              <a:pPr/>
              <a:t>‹nr.›</a:t>
            </a:fld>
            <a:endParaRPr lang="en-US"/>
          </a:p>
        </p:txBody>
      </p:sp>
    </p:spTree>
    <p:extLst>
      <p:ext uri="{BB962C8B-B14F-4D97-AF65-F5344CB8AC3E}">
        <p14:creationId xmlns:p14="http://schemas.microsoft.com/office/powerpoint/2010/main" val="6228463"/>
      </p:ext>
    </p:extLst>
  </p:cSld>
  <p:clrMapOvr>
    <a:masterClrMapping/>
  </p:clrMapOvr>
  <p:extLst>
    <p:ext uri="{DCECCB84-F9BA-43D5-87BE-67443E8EF086}">
      <p15:sldGuideLst xmlns:p15="http://schemas.microsoft.com/office/powerpoint/2012/main">
        <p15:guide id="1" pos="259">
          <p15:clr>
            <a:srgbClr val="65CEFF"/>
          </p15:clr>
        </p15:guide>
        <p15:guide id="2" pos="4794">
          <p15:clr>
            <a:srgbClr val="65CEFF"/>
          </p15:clr>
        </p15:guide>
        <p15:guide id="3" pos="5066">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ne table (large)">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6" name="Table Placeholder">
            <a:extLst>
              <a:ext uri="{FF2B5EF4-FFF2-40B4-BE49-F238E27FC236}">
                <a16:creationId xmlns:a16="http://schemas.microsoft.com/office/drawing/2014/main" id="{D41D1FE0-EDDA-47B8-BF1F-831D4733C32A}"/>
              </a:ext>
            </a:extLst>
          </p:cNvPr>
          <p:cNvSpPr>
            <a:spLocks noGrp="1"/>
          </p:cNvSpPr>
          <p:nvPr>
            <p:ph type="tbl" sz="quarter" idx="12"/>
          </p:nvPr>
        </p:nvSpPr>
        <p:spPr>
          <a:xfrm>
            <a:off x="404812" y="1414461"/>
            <a:ext cx="11376026" cy="4392000"/>
          </a:xfrm>
        </p:spPr>
        <p:txBody>
          <a:bodyPr/>
          <a:lstStyle/>
          <a:p>
            <a:endParaRPr lang="en-US"/>
          </a:p>
        </p:txBody>
      </p:sp>
      <p:sp>
        <p:nvSpPr>
          <p:cNvPr id="3" name="Footer Placeholder">
            <a:extLst>
              <a:ext uri="{FF2B5EF4-FFF2-40B4-BE49-F238E27FC236}">
                <a16:creationId xmlns:a16="http://schemas.microsoft.com/office/drawing/2014/main" id="{9CEA2FAD-1597-4F5C-878D-02CB854024F3}"/>
              </a:ext>
            </a:extLst>
          </p:cNvPr>
          <p:cNvSpPr>
            <a:spLocks noGrp="1"/>
          </p:cNvSpPr>
          <p:nvPr>
            <p:ph type="ftr" sz="quarter" idx="13"/>
          </p:nvPr>
        </p:nvSpPr>
        <p:spPr/>
        <p:txBody>
          <a:bodyPr/>
          <a:lstStyle/>
          <a:p>
            <a:pPr>
              <a:lnSpc>
                <a:spcPct val="100000"/>
              </a:lnSpc>
            </a:pPr>
            <a:r>
              <a:rPr lang="en-US"/>
              <a:t>Restricted | © Siemens 20XX | Author | Department | YYYY-MM-DD</a:t>
            </a:r>
          </a:p>
        </p:txBody>
      </p:sp>
      <p:sp>
        <p:nvSpPr>
          <p:cNvPr id="5" name="Slide Number Placeholder">
            <a:extLst>
              <a:ext uri="{FF2B5EF4-FFF2-40B4-BE49-F238E27FC236}">
                <a16:creationId xmlns:a16="http://schemas.microsoft.com/office/drawing/2014/main" id="{CE0A22CB-5E69-4817-B713-C02B97CF6B91}"/>
              </a:ext>
            </a:extLst>
          </p:cNvPr>
          <p:cNvSpPr>
            <a:spLocks noGrp="1"/>
          </p:cNvSpPr>
          <p:nvPr>
            <p:ph type="sldNum" sz="quarter" idx="14"/>
          </p:nvPr>
        </p:nvSpPr>
        <p:spPr/>
        <p:txBody>
          <a:body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3035933332"/>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302">
          <p15:clr>
            <a:srgbClr val="65CEFF"/>
          </p15:clr>
        </p15:guide>
        <p15:guide id="5" orient="horz" pos="664">
          <p15:clr>
            <a:srgbClr val="65CEFF"/>
          </p15:clr>
        </p15:guide>
        <p15:guide id="6" orient="horz" pos="891">
          <p15:clr>
            <a:srgbClr val="65CEFF"/>
          </p15:clr>
        </p15:guide>
        <p15:guide id="7" orient="horz" pos="3658">
          <p15:clr>
            <a:srgbClr val="65CEFF"/>
          </p15:clr>
        </p15:guide>
        <p15:guide id="8" orient="horz" pos="3885">
          <p15:clr>
            <a:srgbClr val="65CEFF"/>
          </p15:clr>
        </p15:guide>
        <p15:guide id="9" orient="horz" pos="4157">
          <p15:clr>
            <a:srgbClr val="65CE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cess flow">
    <p:bg>
      <p:bgRef idx="1001">
        <a:schemeClr val="bg2"/>
      </p:bgRef>
    </p:bg>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F2A455C-53B1-4792-8EA9-F00926C48E39}"/>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py 1">
            <a:extLst>
              <a:ext uri="{FF2B5EF4-FFF2-40B4-BE49-F238E27FC236}">
                <a16:creationId xmlns:a16="http://schemas.microsoft.com/office/drawing/2014/main" id="{9CE7E2D8-94E8-4FE6-93A5-924CA3EC5315}"/>
              </a:ext>
            </a:extLst>
          </p:cNvPr>
          <p:cNvSpPr>
            <a:spLocks noGrp="1"/>
          </p:cNvSpPr>
          <p:nvPr>
            <p:ph idx="1"/>
          </p:nvPr>
        </p:nvSpPr>
        <p:spPr>
          <a:xfrm>
            <a:off x="411162" y="1414462"/>
            <a:ext cx="3600000" cy="4392000"/>
          </a:xfrm>
          <a:prstGeom prst="rect">
            <a:avLst/>
          </a:prstGeom>
          <a:ln w="19050">
            <a:solidFill>
              <a:schemeClr val="accent2"/>
            </a:solidFill>
          </a:ln>
        </p:spPr>
        <p:txBody>
          <a:bodyPr lIns="216000" tIns="144000" rIns="216000" bIns="144000">
            <a:noAutofit/>
          </a:bodyPr>
          <a:lstStyle>
            <a:lvl1pPr>
              <a:defRPr>
                <a:ln>
                  <a:noFill/>
                </a:ln>
              </a:defRPr>
            </a:lvl1pPr>
            <a:lvl2pPr>
              <a:buClr>
                <a:srgbClr val="00FFB9"/>
              </a:buClr>
              <a:defRPr>
                <a:ln>
                  <a:noFill/>
                </a:ln>
              </a:defRPr>
            </a:lvl2pPr>
            <a:lvl3pPr>
              <a:buClr>
                <a:srgbClr val="00FFB9"/>
              </a:buClr>
              <a:defRPr>
                <a:ln>
                  <a:noFill/>
                </a:ln>
              </a:defRPr>
            </a:lvl3pPr>
            <a:lvl4pPr>
              <a:buClr>
                <a:srgbClr val="00FFB9"/>
              </a:buClr>
              <a:defRPr>
                <a:ln>
                  <a:noFill/>
                </a:ln>
              </a:defRPr>
            </a:lvl4pPr>
            <a:lvl5pPr>
              <a:buClr>
                <a:srgbClr val="00FFB9"/>
              </a:buClr>
              <a:defRPr>
                <a:ln>
                  <a:noFill/>
                </a:ln>
              </a:defRPr>
            </a:lvl5pPr>
            <a:lvl6pPr>
              <a:buClr>
                <a:srgbClr val="00FFB9"/>
              </a:buClr>
              <a:defRPr>
                <a:ln>
                  <a:noFill/>
                </a:ln>
              </a:defRPr>
            </a:lvl6pPr>
            <a:lvl7pPr>
              <a:buClr>
                <a:srgbClr val="00FFB9"/>
              </a:buClr>
              <a:defRPr>
                <a:ln>
                  <a:noFill/>
                </a:ln>
              </a:defRPr>
            </a:lvl7pPr>
            <a:lvl8pPr>
              <a:buClr>
                <a:srgbClr val="00FFB9"/>
              </a:buClr>
              <a:defRPr>
                <a:ln>
                  <a:noFill/>
                </a:ln>
              </a:defRPr>
            </a:lvl8pPr>
            <a:lvl9pPr>
              <a:buClr>
                <a:srgbClr val="00FFB9"/>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Copy 2">
            <a:extLst>
              <a:ext uri="{FF2B5EF4-FFF2-40B4-BE49-F238E27FC236}">
                <a16:creationId xmlns:a16="http://schemas.microsoft.com/office/drawing/2014/main" id="{3AC3CE10-0C4B-4A11-BA76-8CAFED13661C}"/>
              </a:ext>
            </a:extLst>
          </p:cNvPr>
          <p:cNvSpPr>
            <a:spLocks noGrp="1"/>
          </p:cNvSpPr>
          <p:nvPr>
            <p:ph idx="13"/>
          </p:nvPr>
        </p:nvSpPr>
        <p:spPr>
          <a:xfrm>
            <a:off x="4299176" y="1414462"/>
            <a:ext cx="3600000" cy="4392000"/>
          </a:xfrm>
          <a:prstGeom prst="rect">
            <a:avLst/>
          </a:prstGeom>
          <a:ln w="19050">
            <a:solidFill>
              <a:schemeClr val="accent2"/>
            </a:solidFill>
          </a:ln>
        </p:spPr>
        <p:txBody>
          <a:bodyPr lIns="216000" tIns="144000" rIns="216000" bIns="144000">
            <a:noAutofit/>
          </a:bodyPr>
          <a:lstStyle>
            <a:lvl1pPr>
              <a:defRPr>
                <a:ln>
                  <a:noFill/>
                </a:ln>
              </a:defRPr>
            </a:lvl1pPr>
            <a:lvl2pPr>
              <a:buClr>
                <a:srgbClr val="00FFB9"/>
              </a:buClr>
              <a:defRPr>
                <a:ln>
                  <a:noFill/>
                </a:ln>
              </a:defRPr>
            </a:lvl2pPr>
            <a:lvl3pPr>
              <a:buClr>
                <a:srgbClr val="00FFB9"/>
              </a:buClr>
              <a:defRPr>
                <a:ln>
                  <a:noFill/>
                </a:ln>
              </a:defRPr>
            </a:lvl3pPr>
            <a:lvl4pPr>
              <a:buClr>
                <a:srgbClr val="00FFB9"/>
              </a:buClr>
              <a:defRPr>
                <a:ln>
                  <a:noFill/>
                </a:ln>
              </a:defRPr>
            </a:lvl4pPr>
            <a:lvl5pPr>
              <a:buClr>
                <a:srgbClr val="00FFB9"/>
              </a:buClr>
              <a:defRPr>
                <a:ln>
                  <a:noFill/>
                </a:ln>
              </a:defRPr>
            </a:lvl5pPr>
            <a:lvl6pPr>
              <a:buClr>
                <a:srgbClr val="00FFB9"/>
              </a:buClr>
              <a:defRPr>
                <a:ln>
                  <a:noFill/>
                </a:ln>
              </a:defRPr>
            </a:lvl6pPr>
            <a:lvl7pPr>
              <a:buClr>
                <a:srgbClr val="00FFB9"/>
              </a:buClr>
              <a:defRPr>
                <a:ln>
                  <a:noFill/>
                </a:ln>
              </a:defRPr>
            </a:lvl7pPr>
            <a:lvl8pPr>
              <a:buClr>
                <a:srgbClr val="00FFB9"/>
              </a:buClr>
              <a:defRPr>
                <a:ln>
                  <a:noFill/>
                </a:ln>
              </a:defRPr>
            </a:lvl8pPr>
            <a:lvl9pPr>
              <a:buClr>
                <a:srgbClr val="00FFB9"/>
              </a:buClr>
              <a:defRPr>
                <a:ln>
                  <a:noFill/>
                </a:ln>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0" name="Copy 3">
            <a:extLst>
              <a:ext uri="{FF2B5EF4-FFF2-40B4-BE49-F238E27FC236}">
                <a16:creationId xmlns:a16="http://schemas.microsoft.com/office/drawing/2014/main" id="{E840DCCC-8E77-40B8-B94B-A4D3A4D77826}"/>
              </a:ext>
            </a:extLst>
          </p:cNvPr>
          <p:cNvSpPr>
            <a:spLocks noGrp="1"/>
          </p:cNvSpPr>
          <p:nvPr>
            <p:ph idx="12"/>
          </p:nvPr>
        </p:nvSpPr>
        <p:spPr>
          <a:xfrm>
            <a:off x="8187189" y="1414462"/>
            <a:ext cx="3600000" cy="4392000"/>
          </a:xfrm>
          <a:prstGeom prst="rect">
            <a:avLst/>
          </a:prstGeom>
          <a:solidFill>
            <a:schemeClr val="tx2"/>
          </a:solidFill>
          <a:ln w="19050">
            <a:solidFill>
              <a:schemeClr val="tx1"/>
            </a:solidFill>
          </a:ln>
        </p:spPr>
        <p:txBody>
          <a:bodyPr lIns="216000" tIns="144000" rIns="216000" bIns="144000">
            <a:noAutofit/>
          </a:bodyPr>
          <a:lstStyle>
            <a:lvl1pPr>
              <a:defRPr>
                <a:solidFill>
                  <a:schemeClr val="bg1"/>
                </a:solidFill>
              </a:defRPr>
            </a:lvl1pPr>
            <a:lvl2pPr>
              <a:buClr>
                <a:schemeClr val="accent1"/>
              </a:buCl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vl6pPr>
              <a:buClr>
                <a:schemeClr val="accent1"/>
              </a:buClr>
              <a:defRPr>
                <a:solidFill>
                  <a:schemeClr val="bg1"/>
                </a:solidFill>
              </a:defRPr>
            </a:lvl6pPr>
            <a:lvl7pPr>
              <a:buClr>
                <a:schemeClr val="accent1"/>
              </a:buClr>
              <a:defRPr>
                <a:solidFill>
                  <a:schemeClr val="bg1"/>
                </a:solidFill>
              </a:defRPr>
            </a:lvl7pPr>
            <a:lvl8pPr>
              <a:buClr>
                <a:schemeClr val="accent1"/>
              </a:buClr>
              <a:defRPr>
                <a:solidFill>
                  <a:schemeClr val="bg1"/>
                </a:solidFill>
              </a:defRPr>
            </a:lvl8pPr>
            <a:lvl9pPr>
              <a:buClr>
                <a:schemeClr val="accent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ooter Placeholder">
            <a:extLst>
              <a:ext uri="{FF2B5EF4-FFF2-40B4-BE49-F238E27FC236}">
                <a16:creationId xmlns:a16="http://schemas.microsoft.com/office/drawing/2014/main" id="{91FCCEDD-7521-4BD5-8A32-A62DA6246709}"/>
              </a:ext>
            </a:extLst>
          </p:cNvPr>
          <p:cNvSpPr>
            <a:spLocks noGrp="1"/>
          </p:cNvSpPr>
          <p:nvPr>
            <p:ph type="ftr" sz="quarter" idx="14"/>
          </p:nvPr>
        </p:nvSpPr>
        <p:spPr/>
        <p:txBody>
          <a:bodyPr/>
          <a:lstStyle/>
          <a:p>
            <a:pPr>
              <a:lnSpc>
                <a:spcPct val="100000"/>
              </a:lnSpc>
            </a:pPr>
            <a:r>
              <a:rPr lang="en-US"/>
              <a:t>Restricted | © Siemens 20XX | Author | Department | YYYY-MM-DD</a:t>
            </a:r>
          </a:p>
        </p:txBody>
      </p:sp>
      <p:sp>
        <p:nvSpPr>
          <p:cNvPr id="7" name="Slide Number Placeholder">
            <a:extLst>
              <a:ext uri="{FF2B5EF4-FFF2-40B4-BE49-F238E27FC236}">
                <a16:creationId xmlns:a16="http://schemas.microsoft.com/office/drawing/2014/main" id="{DC2AAE3E-7F56-4838-BCE7-6B966549F4DA}"/>
              </a:ext>
            </a:extLst>
          </p:cNvPr>
          <p:cNvSpPr>
            <a:spLocks noGrp="1"/>
          </p:cNvSpPr>
          <p:nvPr>
            <p:ph type="sldNum" sz="quarter" idx="15"/>
          </p:nvPr>
        </p:nvSpPr>
        <p:spPr/>
        <p:txBody>
          <a:body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E5DDD55C-5C17-4BCD-A9BB-FE8A69DC48D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30624217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4975">
          <p15:clr>
            <a:srgbClr val="65CEFF"/>
          </p15:clr>
        </p15:guide>
        <p15:guide id="5" pos="5157">
          <p15:clr>
            <a:srgbClr val="65CEFF"/>
          </p15:clr>
        </p15:guide>
        <p15:guide id="6" pos="6472">
          <p15:clr>
            <a:srgbClr val="65CEFF"/>
          </p15:clr>
        </p15:guide>
        <p15:guide id="7" pos="7425">
          <p15:clr>
            <a:srgbClr val="65CEFF"/>
          </p15:clr>
        </p15:guide>
        <p15:guide id="8" orient="horz" pos="302">
          <p15:clr>
            <a:srgbClr val="65CEFF"/>
          </p15:clr>
        </p15:guide>
        <p15:guide id="9" orient="horz" pos="664">
          <p15:clr>
            <a:srgbClr val="65CEFF"/>
          </p15:clr>
        </p15:guide>
        <p15:guide id="10" orient="horz" pos="891">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Gradient DB–Petrol 6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6" name="Cognisphere" descr="Background pattern&#10;&#10;Description automatically generated">
            <a:extLst>
              <a:ext uri="{FF2B5EF4-FFF2-40B4-BE49-F238E27FC236}">
                <a16:creationId xmlns:a16="http://schemas.microsoft.com/office/drawing/2014/main" id="{DF3DAF0E-BB8A-4082-8CE7-1BBCE61C8CD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a:t>Click to edit </a:t>
            </a:r>
            <a:br>
              <a:rPr lang="en-US"/>
            </a:br>
            <a:r>
              <a:rPr lang="en-US"/>
              <a:t>Master title style</a:t>
            </a:r>
            <a:br>
              <a:rPr lang="en-US"/>
            </a:br>
            <a:r>
              <a:rPr lang="en-US"/>
              <a:t>3 lines 6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1"/>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Restricted | © Siemens 20XX | Author | Department | YYYY-MM-DD</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97353105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light">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760" cy="4104000"/>
          </a:xfrm>
        </p:spPr>
        <p:txBody>
          <a:bodyPr>
            <a:noAutofit/>
          </a:bodyPr>
          <a:lstStyle>
            <a:lvl1pPr marL="0">
              <a:lnSpc>
                <a:spcPct val="110000"/>
              </a:lnSpc>
              <a:spcAft>
                <a:spcPts val="0"/>
              </a:spcAft>
              <a:defRPr sz="4800" b="0">
                <a:solidFill>
                  <a:schemeClr val="tx2"/>
                </a:solidFill>
              </a:defRPr>
            </a:lvl1pPr>
            <a:lvl2pPr marL="36000" indent="0">
              <a:lnSpc>
                <a:spcPct val="110000"/>
              </a:lnSpc>
              <a:spcBef>
                <a:spcPts val="600"/>
              </a:spcBef>
              <a:spcAft>
                <a:spcPts val="0"/>
              </a:spcAft>
              <a:buNone/>
              <a:defRPr sz="1800">
                <a:solidFill>
                  <a:schemeClr val="tx1"/>
                </a:solidFill>
              </a:defRPr>
            </a:lvl2pPr>
            <a:lvl3pPr marL="36000" indent="0">
              <a:lnSpc>
                <a:spcPct val="110000"/>
              </a:lnSpc>
              <a:spcBef>
                <a:spcPts val="600"/>
              </a:spcBef>
              <a:spcAft>
                <a:spcPts val="0"/>
              </a:spcAft>
              <a:buNone/>
              <a:defRPr sz="1800">
                <a:solidFill>
                  <a:schemeClr val="accent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12" name="Quote marks">
            <a:extLst>
              <a:ext uri="{FF2B5EF4-FFF2-40B4-BE49-F238E27FC236}">
                <a16:creationId xmlns:a16="http://schemas.microsoft.com/office/drawing/2014/main" id="{58EF2AB0-A78A-44C9-9A7D-F20D9ED854E0}"/>
              </a:ext>
            </a:extLst>
          </p:cNvPr>
          <p:cNvSpPr/>
          <p:nvPr/>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endParaRPr lang="en-US"/>
          </a:p>
        </p:txBody>
      </p:sp>
      <p:sp>
        <p:nvSpPr>
          <p:cNvPr id="2" name="Footer Placeholder">
            <a:extLst>
              <a:ext uri="{FF2B5EF4-FFF2-40B4-BE49-F238E27FC236}">
                <a16:creationId xmlns:a16="http://schemas.microsoft.com/office/drawing/2014/main" id="{6AEDD147-ACC0-4A9C-9043-90612765C0FA}"/>
              </a:ext>
            </a:extLst>
          </p:cNvPr>
          <p:cNvSpPr>
            <a:spLocks noGrp="1"/>
          </p:cNvSpPr>
          <p:nvPr>
            <p:ph type="ftr" sz="quarter" idx="13"/>
          </p:nvPr>
        </p:nvSpPr>
        <p:spPr/>
        <p:txBody>
          <a:bodyPr/>
          <a:lstStyle/>
          <a:p>
            <a:pPr>
              <a:lnSpc>
                <a:spcPct val="100000"/>
              </a:lnSpc>
            </a:pPr>
            <a:r>
              <a:rPr lang="en-US"/>
              <a:t>Restricted | © Siemens 20XX | Author | Department | YYYY-MM-DD</a:t>
            </a:r>
          </a:p>
        </p:txBody>
      </p:sp>
      <p:sp>
        <p:nvSpPr>
          <p:cNvPr id="3" name="Slide Number Placeholder">
            <a:extLst>
              <a:ext uri="{FF2B5EF4-FFF2-40B4-BE49-F238E27FC236}">
                <a16:creationId xmlns:a16="http://schemas.microsoft.com/office/drawing/2014/main" id="{4131F54F-C70B-4435-91E6-F995F83E6C69}"/>
              </a:ext>
            </a:extLst>
          </p:cNvPr>
          <p:cNvSpPr>
            <a:spLocks noGrp="1"/>
          </p:cNvSpPr>
          <p:nvPr>
            <p:ph type="sldNum" sz="quarter" idx="14"/>
          </p:nvPr>
        </p:nvSpPr>
        <p:spPr/>
        <p:txBody>
          <a:bodyPr/>
          <a:lstStyle/>
          <a:p>
            <a:r>
              <a:rPr lang="en-US"/>
              <a:t>Page </a:t>
            </a:r>
            <a:fld id="{15EBE321-CBB1-4E91-BD14-37C8D44326FB}" type="slidenum">
              <a:rPr lang="en-US" smtClean="0"/>
              <a:pPr/>
              <a:t>‹nr.›</a:t>
            </a:fld>
            <a:endParaRPr lang="en-US"/>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236244273"/>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91">
          <p15:clr>
            <a:srgbClr val="65CEFF"/>
          </p15:clr>
        </p15:guide>
        <p15:guide id="5" orient="horz" pos="1073">
          <p15:clr>
            <a:srgbClr val="65CEFF"/>
          </p15:clr>
        </p15:guide>
        <p15:guide id="6" orient="horz" pos="2206">
          <p15:clr>
            <a:srgbClr val="65CEFF"/>
          </p15:clr>
        </p15:guide>
        <p15:guide id="7" orient="horz" pos="2343">
          <p15:clr>
            <a:srgbClr val="65CEFF"/>
          </p15:clr>
        </p15:guide>
        <p15:guide id="8" orient="horz" pos="3658">
          <p15:clr>
            <a:srgbClr val="65CEFF"/>
          </p15:clr>
        </p15:guide>
        <p15:guide id="9" orient="horz" pos="3885">
          <p15:clr>
            <a:srgbClr val="65CEFF"/>
          </p15:clr>
        </p15:guide>
        <p15:guide id="10" orient="horz" pos="4157">
          <p15:clr>
            <a:srgbClr val="65CE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dark">
    <p:bg>
      <p:bgPr>
        <a:solidFill>
          <a:schemeClr val="bg2"/>
        </a:solidFill>
        <a:effectLst/>
      </p:bgPr>
    </p:bg>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000" cy="4104000"/>
          </a:xfrm>
        </p:spPr>
        <p:txBody>
          <a:bodyPr>
            <a:noAutofit/>
          </a:bodyPr>
          <a:lstStyle>
            <a:lvl1pPr marL="0">
              <a:lnSpc>
                <a:spcPct val="110000"/>
              </a:lnSpc>
              <a:spcAft>
                <a:spcPts val="0"/>
              </a:spcAft>
              <a:defRPr sz="48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11" name="Quote marks">
            <a:extLst>
              <a:ext uri="{FF2B5EF4-FFF2-40B4-BE49-F238E27FC236}">
                <a16:creationId xmlns:a16="http://schemas.microsoft.com/office/drawing/2014/main" id="{916E4245-F21C-4EAB-8B26-FEA21C26067F}"/>
              </a:ext>
            </a:extLst>
          </p:cNvPr>
          <p:cNvSpPr/>
          <p:nvPr userDrawn="1"/>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endParaRPr lang="en-US"/>
          </a:p>
        </p:txBody>
      </p:sp>
      <p:sp>
        <p:nvSpPr>
          <p:cNvPr id="2" name="Footer Placeholder">
            <a:extLst>
              <a:ext uri="{FF2B5EF4-FFF2-40B4-BE49-F238E27FC236}">
                <a16:creationId xmlns:a16="http://schemas.microsoft.com/office/drawing/2014/main" id="{EC4F35EF-AC94-4800-9CB7-CA49CAFDD249}"/>
              </a:ext>
            </a:extLst>
          </p:cNvPr>
          <p:cNvSpPr>
            <a:spLocks noGrp="1"/>
          </p:cNvSpPr>
          <p:nvPr>
            <p:ph type="ftr" sz="quarter" idx="13"/>
          </p:nvPr>
        </p:nvSpPr>
        <p:spPr/>
        <p:txBody>
          <a:bodyPr/>
          <a:lstStyle/>
          <a:p>
            <a:pPr>
              <a:lnSpc>
                <a:spcPct val="100000"/>
              </a:lnSpc>
            </a:pPr>
            <a:r>
              <a:rPr lang="en-US"/>
              <a:t>Restricted | © Siemens 20XX | Author | Department | YYYY-MM-DD</a:t>
            </a:r>
          </a:p>
        </p:txBody>
      </p:sp>
      <p:sp>
        <p:nvSpPr>
          <p:cNvPr id="3" name="Slide Number Placeholder">
            <a:extLst>
              <a:ext uri="{FF2B5EF4-FFF2-40B4-BE49-F238E27FC236}">
                <a16:creationId xmlns:a16="http://schemas.microsoft.com/office/drawing/2014/main" id="{CCC7FBE7-01B9-4EC8-8BE1-F416F7C5B7AA}"/>
              </a:ext>
            </a:extLst>
          </p:cNvPr>
          <p:cNvSpPr>
            <a:spLocks noGrp="1"/>
          </p:cNvSpPr>
          <p:nvPr>
            <p:ph type="sldNum" sz="quarter" idx="14"/>
          </p:nvPr>
        </p:nvSpPr>
        <p:spPr/>
        <p:txBody>
          <a:bodyPr/>
          <a:lstStyle/>
          <a:p>
            <a:r>
              <a:rPr lang="en-US"/>
              <a:t>Page </a:t>
            </a:r>
            <a:fld id="{15EBE321-CBB1-4E91-BD14-37C8D44326FB}" type="slidenum">
              <a:rPr lang="en-US" smtClean="0"/>
              <a:pPr/>
              <a:t>‹nr.›</a:t>
            </a:fld>
            <a:endParaRPr lang="en-US"/>
          </a:p>
        </p:txBody>
      </p:sp>
      <p:pic>
        <p:nvPicPr>
          <p:cNvPr id="8" name="Siemens Logo">
            <a:extLst>
              <a:ext uri="{FF2B5EF4-FFF2-40B4-BE49-F238E27FC236}">
                <a16:creationId xmlns:a16="http://schemas.microsoft.com/office/drawing/2014/main" id="{AF2E271F-5AF7-408E-9752-03D1D6448EA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3336970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91">
          <p15:clr>
            <a:srgbClr val="65CEFF"/>
          </p15:clr>
        </p15:guide>
        <p15:guide id="5" orient="horz" pos="1073">
          <p15:clr>
            <a:srgbClr val="65CEFF"/>
          </p15:clr>
        </p15:guide>
        <p15:guide id="6" orient="horz" pos="3658">
          <p15:clr>
            <a:srgbClr val="65CEFF"/>
          </p15:clr>
        </p15:guide>
        <p15:guide id="7" orient="horz" pos="3885">
          <p15:clr>
            <a:srgbClr val="65CEFF"/>
          </p15:clr>
        </p15:guide>
        <p15:guide id="8" orient="horz" pos="4157">
          <p15:clr>
            <a:srgbClr val="65CE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atement ligh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a:xfrm>
            <a:off x="986400" y="1271538"/>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en-US"/>
              <a:t>Click to edit Master title style</a:t>
            </a:r>
          </a:p>
        </p:txBody>
      </p:sp>
      <p:sp>
        <p:nvSpPr>
          <p:cNvPr id="2" name="Footer Placeholder">
            <a:extLst>
              <a:ext uri="{FF2B5EF4-FFF2-40B4-BE49-F238E27FC236}">
                <a16:creationId xmlns:a16="http://schemas.microsoft.com/office/drawing/2014/main" id="{39F9E844-3827-4B6C-9CB5-13C9A70DCD4D}"/>
              </a:ext>
            </a:extLst>
          </p:cNvPr>
          <p:cNvSpPr>
            <a:spLocks noGrp="1"/>
          </p:cNvSpPr>
          <p:nvPr>
            <p:ph type="ftr" sz="quarter" idx="10"/>
          </p:nvPr>
        </p:nvSpPr>
        <p:spPr/>
        <p:txBody>
          <a:bodyPr/>
          <a:lstStyle/>
          <a:p>
            <a:pPr>
              <a:lnSpc>
                <a:spcPct val="100000"/>
              </a:lnSpc>
            </a:pPr>
            <a:r>
              <a:rPr lang="en-US"/>
              <a:t>Restricted | © Siemens 20XX | Author | Department | YYYY-MM-DD</a:t>
            </a:r>
          </a:p>
        </p:txBody>
      </p:sp>
      <p:sp>
        <p:nvSpPr>
          <p:cNvPr id="3" name="Slide Number Placeholder">
            <a:extLst>
              <a:ext uri="{FF2B5EF4-FFF2-40B4-BE49-F238E27FC236}">
                <a16:creationId xmlns:a16="http://schemas.microsoft.com/office/drawing/2014/main" id="{D52C2AF7-8539-453F-BD56-35B696DB2073}"/>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3016300629"/>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atement dark">
    <p:bg>
      <p:bgRef idx="1001">
        <a:schemeClr val="bg2"/>
      </p:bgRef>
    </p:bg>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a:xfrm>
            <a:off x="986400" y="1270799"/>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en-US"/>
              <a:t>Click to edit Master title style</a:t>
            </a:r>
          </a:p>
        </p:txBody>
      </p:sp>
      <p:sp>
        <p:nvSpPr>
          <p:cNvPr id="2" name="Footer Placeholder">
            <a:extLst>
              <a:ext uri="{FF2B5EF4-FFF2-40B4-BE49-F238E27FC236}">
                <a16:creationId xmlns:a16="http://schemas.microsoft.com/office/drawing/2014/main" id="{09BD8BE5-BFF2-469D-8B93-9556FCC45CF1}"/>
              </a:ext>
            </a:extLst>
          </p:cNvPr>
          <p:cNvSpPr>
            <a:spLocks noGrp="1"/>
          </p:cNvSpPr>
          <p:nvPr>
            <p:ph type="ftr" sz="quarter" idx="10"/>
          </p:nvPr>
        </p:nvSpPr>
        <p:spPr/>
        <p:txBody>
          <a:bodyPr/>
          <a:lstStyle/>
          <a:p>
            <a:pPr>
              <a:lnSpc>
                <a:spcPct val="100000"/>
              </a:lnSpc>
            </a:pPr>
            <a:r>
              <a:rPr lang="en-US"/>
              <a:t>Restricted | © Siemens 20XX | Author | Department | YYYY-MM-DD</a:t>
            </a:r>
          </a:p>
        </p:txBody>
      </p:sp>
      <p:sp>
        <p:nvSpPr>
          <p:cNvPr id="3" name="Slide Number Placeholder">
            <a:extLst>
              <a:ext uri="{FF2B5EF4-FFF2-40B4-BE49-F238E27FC236}">
                <a16:creationId xmlns:a16="http://schemas.microsoft.com/office/drawing/2014/main" id="{F9372441-FA7E-4481-BBC2-24CB6D3017C8}"/>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4" name="Siemens Logo">
            <a:extLst>
              <a:ext uri="{FF2B5EF4-FFF2-40B4-BE49-F238E27FC236}">
                <a16:creationId xmlns:a16="http://schemas.microsoft.com/office/drawing/2014/main" id="{0EF6BB07-4F4E-4859-9572-DA63E35B93A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118188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2"/>
      </p:bgRef>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B29E3DA4-014E-4F3D-8186-84366ADFCB03}"/>
              </a:ext>
            </a:extLst>
          </p:cNvPr>
          <p:cNvSpPr>
            <a:spLocks noGrp="1"/>
          </p:cNvSpPr>
          <p:nvPr>
            <p:ph type="title" hasCustomPrompt="1"/>
          </p:nvPr>
        </p:nvSpPr>
        <p:spPr>
          <a:xfrm>
            <a:off x="411163" y="1234800"/>
            <a:ext cx="9863237" cy="1162523"/>
          </a:xfrm>
          <a:blipFill dpi="0" rotWithShape="1">
            <a:blip r:embed="rId2">
              <a:extLst>
                <a:ext uri="{96DAC541-7B7A-43D3-8B79-37D633B846F1}">
                  <asvg:svgBlip xmlns:asvg="http://schemas.microsoft.com/office/drawing/2016/SVG/main" r:embed="rId3"/>
                </a:ext>
              </a:extLst>
            </a:blip>
            <a:srcRect/>
            <a:stretch>
              <a:fillRect/>
            </a:stretch>
          </a:blipFill>
        </p:spPr>
        <p:txBody>
          <a:bodyPr wrap="square" lIns="0" tIns="54000" rIns="0" bIns="0" anchor="t" anchorCtr="0">
            <a:spAutoFit/>
          </a:bodyPr>
          <a:lstStyle>
            <a:lvl1pPr marL="540000">
              <a:defRPr sz="8000">
                <a:solidFill>
                  <a:schemeClr val="tx1"/>
                </a:solidFill>
              </a:defRPr>
            </a:lvl1pPr>
          </a:lstStyle>
          <a:p>
            <a:r>
              <a:rPr lang="en-US"/>
              <a:t>Contact</a:t>
            </a:r>
          </a:p>
        </p:txBody>
      </p:sp>
      <p:sp>
        <p:nvSpPr>
          <p:cNvPr id="3" name="Copy">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1058400"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lvl2pPr>
            <a:lvl3pPr marL="180000" indent="-180000" algn="l">
              <a:spcAft>
                <a:spcPts val="0"/>
              </a:spcAft>
              <a:buFont typeface="Arial" panose="020B0604020202020204" pitchFamily="34" charset="0"/>
              <a:buChar char="•"/>
              <a:defRPr sz="1400" b="0"/>
            </a:lvl3pPr>
            <a:lvl4pPr marL="360000" indent="-180000" algn="l">
              <a:spcAft>
                <a:spcPts val="0"/>
              </a:spcAft>
              <a:buFont typeface="Arial" panose="020B0604020202020204" pitchFamily="34" charset="0"/>
              <a:buChar char="•"/>
              <a:defRPr sz="1400"/>
            </a:lvl4pPr>
            <a:lvl5pPr marL="360000" indent="-180000" algn="l">
              <a:spcAft>
                <a:spcPts val="0"/>
              </a:spcAft>
              <a:buFont typeface="Arial" panose="020B0604020202020204" pitchFamily="34" charset="0"/>
              <a:buChar char="•"/>
              <a:defRPr sz="1400" b="1"/>
            </a:lvl5pPr>
            <a:lvl6pPr marL="540000" indent="-180000" algn="l">
              <a:spcAft>
                <a:spcPts val="0"/>
              </a:spcAft>
              <a:buFont typeface="Arial" panose="020B0604020202020204" pitchFamily="34" charset="0"/>
              <a:buChar char="•"/>
              <a:defRPr sz="1400"/>
            </a:lvl6pPr>
            <a:lvl7pPr marL="540000" indent="-180000" algn="l">
              <a:spcAft>
                <a:spcPts val="0"/>
              </a:spcAft>
              <a:buFont typeface="Arial" panose="020B0604020202020204" pitchFamily="34" charset="0"/>
              <a:buChar char="•"/>
              <a:defRPr sz="1400" b="1"/>
            </a:lvl7pPr>
            <a:lvl8pPr marL="720000" indent="-180000" algn="l">
              <a:spcAft>
                <a:spcPts val="0"/>
              </a:spcAft>
              <a:buFont typeface="Arial" panose="020B0604020202020204" pitchFamily="34" charset="0"/>
              <a:buChar char="•"/>
              <a:defRPr sz="1400"/>
            </a:lvl8pPr>
            <a:lvl9pPr marL="720000" indent="-180000" algn="l">
              <a:spcAft>
                <a:spcPts val="0"/>
              </a:spcAft>
              <a:buFont typeface="Arial" panose="020B0604020202020204" pitchFamily="34" charset="0"/>
              <a:buChar char="•"/>
              <a:defRPr sz="1400" b="1"/>
            </a:lvl9pPr>
          </a:lstStyle>
          <a:p>
            <a:pPr lvl="0"/>
            <a:r>
              <a:rPr lang="en-US"/>
              <a:t>Click to edit the contact</a:t>
            </a:r>
          </a:p>
          <a:p>
            <a:pPr lvl="1"/>
            <a:r>
              <a:rPr lang="en-US"/>
              <a:t>Name etc.</a:t>
            </a:r>
          </a:p>
          <a:p>
            <a:pPr lvl="2"/>
            <a:r>
              <a:rPr lang="en-US"/>
              <a:t>Department etc.</a:t>
            </a:r>
          </a:p>
          <a:p>
            <a:pPr lvl="3"/>
            <a:r>
              <a:rPr lang="en-US"/>
              <a:t>subchapter</a:t>
            </a:r>
          </a:p>
          <a:p>
            <a:pPr lvl="4"/>
            <a:r>
              <a:rPr lang="en-US"/>
              <a:t>active subchapter</a:t>
            </a:r>
          </a:p>
        </p:txBody>
      </p:sp>
      <p:sp>
        <p:nvSpPr>
          <p:cNvPr id="8" name="Footer Placeholder">
            <a:extLst>
              <a:ext uri="{FF2B5EF4-FFF2-40B4-BE49-F238E27FC236}">
                <a16:creationId xmlns:a16="http://schemas.microsoft.com/office/drawing/2014/main" id="{3279A350-3BB2-4CA2-A422-8F5A951F6F64}"/>
              </a:ext>
            </a:extLst>
          </p:cNvPr>
          <p:cNvSpPr>
            <a:spLocks noGrp="1"/>
          </p:cNvSpPr>
          <p:nvPr>
            <p:ph type="ftr" sz="quarter" idx="10"/>
          </p:nvPr>
        </p:nvSpPr>
        <p:spPr/>
        <p:txBody>
          <a:bodyPr/>
          <a:lstStyle/>
          <a:p>
            <a:pPr>
              <a:lnSpc>
                <a:spcPct val="100000"/>
              </a:lnSpc>
            </a:pPr>
            <a:r>
              <a:rPr lang="en-US"/>
              <a:t>Restricted | © Siemens 20XX | Author | Department | YYYY-MM-DD</a:t>
            </a:r>
          </a:p>
        </p:txBody>
      </p:sp>
      <p:sp>
        <p:nvSpPr>
          <p:cNvPr id="9" name="Slide Number Placeholder">
            <a:extLst>
              <a:ext uri="{FF2B5EF4-FFF2-40B4-BE49-F238E27FC236}">
                <a16:creationId xmlns:a16="http://schemas.microsoft.com/office/drawing/2014/main" id="{CFF9630D-791D-45AE-8E5E-36F747F599E9}"/>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5FD2C39E-5D81-4A0E-9F45-909328900889}"/>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41886637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778">
          <p15:clr>
            <a:srgbClr val="65CEFF"/>
          </p15:clr>
        </p15:guide>
        <p15:guide id="5" orient="horz" pos="3658">
          <p15:clr>
            <a:srgbClr val="65CEFF"/>
          </p15:clr>
        </p15:guide>
        <p15:guide id="6" orient="horz" pos="4157">
          <p15:clr>
            <a:srgbClr val="65CE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Free Content" userDrawn="1">
  <p:cSld name="1_Free Content">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p>
            <a:r>
              <a:rPr lang="en-US"/>
              <a:t>Click to edit Master title style</a:t>
            </a:r>
            <a:endParaRPr lang="de-DE"/>
          </a:p>
        </p:txBody>
      </p:sp>
    </p:spTree>
    <p:custDataLst>
      <p:custData r:id="rId1"/>
    </p:custDataLst>
    <p:extLst>
      <p:ext uri="{BB962C8B-B14F-4D97-AF65-F5344CB8AC3E}">
        <p14:creationId xmlns:p14="http://schemas.microsoft.com/office/powerpoint/2010/main" val="217421282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766080656"/>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588" y="1589"/>
                        <a:ext cx="1586" cy="1587"/>
                      </a:xfrm>
                      <a:prstGeom prst="rect">
                        <a:avLst/>
                      </a:prstGeom>
                    </p:spPr>
                  </p:pic>
                </p:oleObj>
              </mc:Fallback>
            </mc:AlternateContent>
          </a:graphicData>
        </a:graphic>
      </p:graphicFrame>
      <p:pic>
        <p:nvPicPr>
          <p:cNvPr id="60" name="Grafik 59"/>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dtRectangle 115 Id57350"/>
          <p:cNvSpPr>
            <a:spLocks noGrp="1" noChangeArrowheads="1"/>
          </p:cNvSpPr>
          <p:nvPr>
            <p:ph type="ctrTitle" hasCustomPrompt="1"/>
            <p:custDataLst>
              <p:tags r:id="rId2"/>
            </p:custDataLst>
          </p:nvPr>
        </p:nvSpPr>
        <p:spPr bwMode="ltGray">
          <a:xfrm>
            <a:off x="626736" y="4139291"/>
            <a:ext cx="6476627"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noProof="0"/>
              <a:t>Click to edit Master title style</a:t>
            </a:r>
          </a:p>
        </p:txBody>
      </p:sp>
      <p:sp>
        <p:nvSpPr>
          <p:cNvPr id="5" name="cdtText Box 101 Id11"/>
          <p:cNvSpPr txBox="1">
            <a:spLocks noChangeArrowheads="1"/>
          </p:cNvSpPr>
          <p:nvPr userDrawn="1">
            <p:custDataLst>
              <p:tags r:id="rId3"/>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a:solidFill>
                <a:srgbClr val="990000"/>
              </a:solidFill>
            </a:endParaRPr>
          </a:p>
        </p:txBody>
      </p:sp>
      <p:sp>
        <p:nvSpPr>
          <p:cNvPr id="9" name="Textplatzhalter 57343"/>
          <p:cNvSpPr>
            <a:spLocks noGrp="1"/>
          </p:cNvSpPr>
          <p:nvPr>
            <p:ph type="body" sz="quarter" idx="12" hasCustomPrompt="1"/>
          </p:nvPr>
        </p:nvSpPr>
        <p:spPr bwMode="gray">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noProof="0"/>
              <a:t>www.siemens.com/sitrain</a:t>
            </a:r>
          </a:p>
        </p:txBody>
      </p:sp>
      <p:sp>
        <p:nvSpPr>
          <p:cNvPr id="10" name="Textplatzhalter 57343"/>
          <p:cNvSpPr>
            <a:spLocks noGrp="1"/>
          </p:cNvSpPr>
          <p:nvPr>
            <p:ph type="body" sz="quarter" idx="13" hasCustomPrompt="1"/>
          </p:nvPr>
        </p:nvSpPr>
        <p:spPr>
          <a:xfrm>
            <a:off x="626736" y="5907600"/>
            <a:ext cx="3309801" cy="324000"/>
          </a:xfrm>
        </p:spPr>
        <p:txBody>
          <a:bodyPr lIns="216000" tIns="90000" rIns="0" bIns="46800"/>
          <a:lstStyle>
            <a:lvl1pPr algn="l">
              <a:lnSpc>
                <a:spcPct val="100000"/>
              </a:lnSpc>
              <a:defRPr sz="999" b="1"/>
            </a:lvl1pPr>
            <a:lvl2pPr marL="1587" indent="0">
              <a:buNone/>
              <a:defRPr/>
            </a:lvl2pPr>
          </a:lstStyle>
          <a:p>
            <a:r>
              <a:rPr lang="en-US"/>
              <a:t>Unrestricted © Siemens AG 2019</a:t>
            </a:r>
          </a:p>
        </p:txBody>
      </p:sp>
      <p:grpSp>
        <p:nvGrpSpPr>
          <p:cNvPr id="83" name="Gruppieren 82"/>
          <p:cNvGrpSpPr/>
          <p:nvPr userDrawn="1"/>
        </p:nvGrpSpPr>
        <p:grpSpPr>
          <a:xfrm>
            <a:off x="-215888" y="-216000"/>
            <a:ext cx="12622226" cy="7290000"/>
            <a:chOff x="-216000" y="-216000"/>
            <a:chExt cx="12628800" cy="7290000"/>
          </a:xfrm>
        </p:grpSpPr>
        <p:cxnSp>
          <p:nvCxnSpPr>
            <p:cNvPr id="84" name="Gerade Verbindung 8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Group 33"/>
          <p:cNvGrpSpPr>
            <a:grpSpLocks noChangeAspect="1"/>
          </p:cNvGrpSpPr>
          <p:nvPr userDrawn="1"/>
        </p:nvGrpSpPr>
        <p:grpSpPr bwMode="gray">
          <a:xfrm>
            <a:off x="9550189" y="323850"/>
            <a:ext cx="2157876" cy="914400"/>
            <a:chOff x="6019" y="204"/>
            <a:chExt cx="1360" cy="576"/>
          </a:xfrm>
        </p:grpSpPr>
        <p:sp>
          <p:nvSpPr>
            <p:cNvPr id="32"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3"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4"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5"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6"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7"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8"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9"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0"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1"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2"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3"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4"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5"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6"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7"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8"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9"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0"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1"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2"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3"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4"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5"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6"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7"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8"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spTree>
    <p:extLst>
      <p:ext uri="{BB962C8B-B14F-4D97-AF65-F5344CB8AC3E}">
        <p14:creationId xmlns:p14="http://schemas.microsoft.com/office/powerpoint/2010/main" val="982955246"/>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6736" y="4139931"/>
            <a:ext cx="6476627" cy="166256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de-DE" noProof="0"/>
              <a:t>Mastertitelformat bearbeiten</a:t>
            </a:r>
            <a:endParaRPr lang="en-US" noProof="0"/>
          </a:p>
        </p:txBody>
      </p:sp>
      <p:sp>
        <p:nvSpPr>
          <p:cNvPr id="4"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a:solidFill>
                <a:srgbClr val="990000"/>
              </a:solidFill>
            </a:endParaRPr>
          </a:p>
        </p:txBody>
      </p:sp>
      <p:sp>
        <p:nvSpPr>
          <p:cNvPr id="8" name="Textplatzhalter 57343"/>
          <p:cNvSpPr>
            <a:spLocks noGrp="1"/>
          </p:cNvSpPr>
          <p:nvPr>
            <p:ph type="body" sz="quarter" idx="12" hasCustomPrompt="1"/>
          </p:nvPr>
        </p:nvSpPr>
        <p:spPr bwMode="gray">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noProof="0"/>
              <a:t>Please insert URL</a:t>
            </a:r>
          </a:p>
        </p:txBody>
      </p:sp>
      <p:sp>
        <p:nvSpPr>
          <p:cNvPr id="11" name="Textplatzhalter 57343"/>
          <p:cNvSpPr>
            <a:spLocks noGrp="1"/>
          </p:cNvSpPr>
          <p:nvPr>
            <p:ph type="body" sz="quarter" idx="13" hasCustomPrompt="1"/>
          </p:nvPr>
        </p:nvSpPr>
        <p:spPr>
          <a:xfrm>
            <a:off x="626736" y="5907600"/>
            <a:ext cx="3309801" cy="324000"/>
          </a:xfrm>
        </p:spPr>
        <p:txBody>
          <a:bodyPr lIns="216000" tIns="90000" rIns="0" bIns="46800"/>
          <a:lstStyle>
            <a:lvl1pPr algn="l">
              <a:lnSpc>
                <a:spcPct val="100000"/>
              </a:lnSpc>
              <a:defRPr sz="999" b="1"/>
            </a:lvl1pPr>
            <a:lvl2pPr marL="1587" indent="0">
              <a:buNone/>
              <a:defRPr/>
            </a:lvl2pPr>
          </a:lstStyle>
          <a:p>
            <a:pPr lvl="0"/>
            <a:r>
              <a:rPr lang="en-US" noProof="0"/>
              <a:t>Please insert confidentiality note</a:t>
            </a:r>
          </a:p>
        </p:txBody>
      </p:sp>
      <p:grpSp>
        <p:nvGrpSpPr>
          <p:cNvPr id="82" name="Gruppieren 81"/>
          <p:cNvGrpSpPr/>
          <p:nvPr userDrawn="1"/>
        </p:nvGrpSpPr>
        <p:grpSpPr>
          <a:xfrm>
            <a:off x="-215888" y="-216000"/>
            <a:ext cx="12622226" cy="72900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9" name="Group 33"/>
          <p:cNvGrpSpPr>
            <a:grpSpLocks noChangeAspect="1"/>
          </p:cNvGrpSpPr>
          <p:nvPr userDrawn="1"/>
        </p:nvGrpSpPr>
        <p:grpSpPr bwMode="gray">
          <a:xfrm>
            <a:off x="9550189" y="323850"/>
            <a:ext cx="2157876" cy="914400"/>
            <a:chOff x="6019" y="204"/>
            <a:chExt cx="1360" cy="576"/>
          </a:xfrm>
        </p:grpSpPr>
        <p:sp>
          <p:nvSpPr>
            <p:cNvPr id="30"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1"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spTree>
    <p:extLst>
      <p:ext uri="{BB962C8B-B14F-4D97-AF65-F5344CB8AC3E}">
        <p14:creationId xmlns:p14="http://schemas.microsoft.com/office/powerpoint/2010/main" val="38527768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pic>
        <p:nvPicPr>
          <p:cNvPr id="58" name="Grafik 57"/>
          <p:cNvPicPr>
            <a:picLocks noChangeAspect="1"/>
          </p:cNvPicPr>
          <p:nvPr userDrawn="1"/>
        </p:nvPicPr>
        <p:blipFill rotWithShape="1">
          <a:blip r:embed="rId4">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cdtRectangle 115 Id57350"/>
          <p:cNvSpPr>
            <a:spLocks noGrp="1" noChangeArrowheads="1"/>
          </p:cNvSpPr>
          <p:nvPr>
            <p:ph type="ctrTitle"/>
            <p:custDataLst>
              <p:tags r:id="rId1"/>
            </p:custDataLst>
          </p:nvPr>
        </p:nvSpPr>
        <p:spPr bwMode="ltGray">
          <a:xfrm>
            <a:off x="626736" y="4569036"/>
            <a:ext cx="6476627" cy="166256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de-DE" noProof="0"/>
              <a:t>Mastertitelformat bearbeiten</a:t>
            </a:r>
            <a:endParaRPr lang="en-US" noProof="0"/>
          </a:p>
        </p:txBody>
      </p:sp>
      <p:sp>
        <p:nvSpPr>
          <p:cNvPr id="5"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a:solidFill>
                <a:srgbClr val="990000"/>
              </a:solidFill>
            </a:endParaRPr>
          </a:p>
        </p:txBody>
      </p:sp>
      <p:grpSp>
        <p:nvGrpSpPr>
          <p:cNvPr id="82" name="Gruppieren 81"/>
          <p:cNvGrpSpPr/>
          <p:nvPr userDrawn="1"/>
        </p:nvGrpSpPr>
        <p:grpSpPr>
          <a:xfrm>
            <a:off x="-215888" y="-216000"/>
            <a:ext cx="12622226" cy="72900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8" name="Group 33"/>
          <p:cNvGrpSpPr>
            <a:grpSpLocks noChangeAspect="1"/>
          </p:cNvGrpSpPr>
          <p:nvPr userDrawn="1"/>
        </p:nvGrpSpPr>
        <p:grpSpPr bwMode="gray">
          <a:xfrm>
            <a:off x="9550189" y="323850"/>
            <a:ext cx="2157876" cy="914400"/>
            <a:chOff x="6019" y="204"/>
            <a:chExt cx="1360" cy="576"/>
          </a:xfrm>
        </p:grpSpPr>
        <p:sp>
          <p:nvSpPr>
            <p:cNvPr id="29"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0"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spTree>
    <p:extLst>
      <p:ext uri="{BB962C8B-B14F-4D97-AF65-F5344CB8AC3E}">
        <p14:creationId xmlns:p14="http://schemas.microsoft.com/office/powerpoint/2010/main" val="309272782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2"/>
            </p:custDataLst>
          </p:nvPr>
        </p:nvSpPr>
        <p:spPr bwMode="ltGray">
          <a:xfrm>
            <a:off x="626736" y="4569350"/>
            <a:ext cx="6476627" cy="166256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de-DE" noProof="0"/>
              <a:t>Mastertitelformat bearbeiten</a:t>
            </a:r>
            <a:endParaRPr lang="en-US" noProof="0"/>
          </a:p>
        </p:txBody>
      </p:sp>
      <p:sp>
        <p:nvSpPr>
          <p:cNvPr id="4" name="cdtText Box 101 Id11"/>
          <p:cNvSpPr txBox="1">
            <a:spLocks noChangeArrowheads="1"/>
          </p:cNvSpPr>
          <p:nvPr userDrawn="1">
            <p:custDataLst>
              <p:tags r:id="rId3"/>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a:solidFill>
                <a:srgbClr val="990000"/>
              </a:solidFill>
            </a:endParaRPr>
          </a:p>
        </p:txBody>
      </p:sp>
      <p:grpSp>
        <p:nvGrpSpPr>
          <p:cNvPr id="80" name="Gruppieren 79"/>
          <p:cNvGrpSpPr/>
          <p:nvPr userDrawn="1"/>
        </p:nvGrpSpPr>
        <p:grpSpPr>
          <a:xfrm>
            <a:off x="-215888" y="-216000"/>
            <a:ext cx="12622226" cy="7290000"/>
            <a:chOff x="-216000" y="-216000"/>
            <a:chExt cx="12628800" cy="7290000"/>
          </a:xfrm>
        </p:grpSpPr>
        <p:cxnSp>
          <p:nvCxnSpPr>
            <p:cNvPr id="81" name="Gerade Verbindung 80"/>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0189" y="323850"/>
            <a:ext cx="2157876"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spTree>
    <p:custDataLst>
      <p:tags r:id="rId1"/>
    </p:custDataLst>
    <p:extLst>
      <p:ext uri="{BB962C8B-B14F-4D97-AF65-F5344CB8AC3E}">
        <p14:creationId xmlns:p14="http://schemas.microsoft.com/office/powerpoint/2010/main" val="1188705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Gradient DB–Petrol 4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6" name="Cognisphere" descr="A picture containing background pattern&#10;&#10;Description automatically generated">
            <a:extLst>
              <a:ext uri="{FF2B5EF4-FFF2-40B4-BE49-F238E27FC236}">
                <a16:creationId xmlns:a16="http://schemas.microsoft.com/office/drawing/2014/main" id="{DE598EC2-770B-4F85-A209-57F0E77094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a:t>Click to edit </a:t>
            </a:r>
            <a:br>
              <a:rPr lang="en-US"/>
            </a:br>
            <a:r>
              <a:rPr lang="en-US"/>
              <a:t>Master title style</a:t>
            </a:r>
            <a:br>
              <a:rPr lang="en-US"/>
            </a:br>
            <a:r>
              <a:rPr lang="en-US"/>
              <a:t>extra long headlines</a:t>
            </a:r>
            <a:br>
              <a:rPr lang="en-US"/>
            </a:br>
            <a:r>
              <a:rPr lang="en-US"/>
              <a:t>4 lines 4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Restricted | © Siemens 20XX | Author | Department | YYYY-MM-DD</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7640146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a:solidFill>
                <a:srgbClr val="990000"/>
              </a:solidFill>
            </a:endParaRPr>
          </a:p>
        </p:txBody>
      </p:sp>
      <p:sp>
        <p:nvSpPr>
          <p:cNvPr id="30" name="cdtRectangle 115 Id57350"/>
          <p:cNvSpPr>
            <a:spLocks noGrp="1" noChangeArrowheads="1"/>
          </p:cNvSpPr>
          <p:nvPr>
            <p:ph type="ctrTitle"/>
            <p:custDataLst>
              <p:tags r:id="rId3"/>
            </p:custDataLst>
          </p:nvPr>
        </p:nvSpPr>
        <p:spPr bwMode="auto">
          <a:xfrm>
            <a:off x="626736" y="4569350"/>
            <a:ext cx="6476627" cy="1662564"/>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de-DE" noProof="0"/>
              <a:t>Mastertitelformat bearbeiten</a:t>
            </a:r>
            <a:endParaRPr lang="en-US" noProof="0"/>
          </a:p>
        </p:txBody>
      </p:sp>
      <p:grpSp>
        <p:nvGrpSpPr>
          <p:cNvPr id="81" name="Gruppieren 80"/>
          <p:cNvGrpSpPr/>
          <p:nvPr userDrawn="1"/>
        </p:nvGrpSpPr>
        <p:grpSpPr>
          <a:xfrm>
            <a:off x="-215888" y="-216000"/>
            <a:ext cx="12622226" cy="7290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0189" y="323850"/>
            <a:ext cx="2157876"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1"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2"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3"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4"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spTree>
    <p:custDataLst>
      <p:tags r:id="rId1"/>
    </p:custDataLst>
    <p:extLst>
      <p:ext uri="{BB962C8B-B14F-4D97-AF65-F5344CB8AC3E}">
        <p14:creationId xmlns:p14="http://schemas.microsoft.com/office/powerpoint/2010/main" val="204639728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a:solidFill>
                <a:srgbClr val="990000"/>
              </a:solidFill>
            </a:endParaRPr>
          </a:p>
        </p:txBody>
      </p:sp>
      <p:sp>
        <p:nvSpPr>
          <p:cNvPr id="34" name="cdtRectangle 115 Id57350"/>
          <p:cNvSpPr>
            <a:spLocks noGrp="1" noChangeArrowheads="1"/>
          </p:cNvSpPr>
          <p:nvPr>
            <p:ph type="ctrTitle"/>
            <p:custDataLst>
              <p:tags r:id="rId3"/>
            </p:custDataLst>
          </p:nvPr>
        </p:nvSpPr>
        <p:spPr bwMode="auto">
          <a:xfrm>
            <a:off x="626736" y="4569350"/>
            <a:ext cx="6476627" cy="1662564"/>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de-DE" noProof="0"/>
              <a:t>Mastertitelformat bearbeiten</a:t>
            </a:r>
            <a:endParaRPr lang="en-US" noProof="0"/>
          </a:p>
        </p:txBody>
      </p:sp>
      <p:grpSp>
        <p:nvGrpSpPr>
          <p:cNvPr id="81" name="Gruppieren 80"/>
          <p:cNvGrpSpPr/>
          <p:nvPr userDrawn="1"/>
        </p:nvGrpSpPr>
        <p:grpSpPr>
          <a:xfrm>
            <a:off x="-215888" y="-216000"/>
            <a:ext cx="12622226" cy="7290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0189" y="323850"/>
            <a:ext cx="2157876"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spTree>
    <p:custDataLst>
      <p:tags r:id="rId1"/>
    </p:custDataLst>
    <p:extLst>
      <p:ext uri="{BB962C8B-B14F-4D97-AF65-F5344CB8AC3E}">
        <p14:creationId xmlns:p14="http://schemas.microsoft.com/office/powerpoint/2010/main" val="160756579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noProof="0"/>
              <a:t>Mastertitelformat bearbeiten</a:t>
            </a:r>
            <a:endParaRPr lang="en-US" noProof="0"/>
          </a:p>
        </p:txBody>
      </p:sp>
      <p:sp>
        <p:nvSpPr>
          <p:cNvPr id="4" name="cdtText Placeholder 12 Id13"/>
          <p:cNvSpPr>
            <a:spLocks noGrp="1"/>
          </p:cNvSpPr>
          <p:nvPr>
            <p:ph type="body" sz="quarter" idx="14" hasCustomPrompt="1"/>
            <p:custDataLst>
              <p:tags r:id="rId2"/>
            </p:custDataLst>
          </p:nvPr>
        </p:nvSpPr>
        <p:spPr bwMode="auto">
          <a:xfrm>
            <a:off x="4656571" y="1439999"/>
            <a:ext cx="7535429" cy="4752000"/>
          </a:xfrm>
          <a:solidFill>
            <a:srgbClr val="DFE6E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9910" indent="-179910">
              <a:lnSpc>
                <a:spcPct val="100000"/>
              </a:lnSpc>
              <a:spcBef>
                <a:spcPts val="500"/>
              </a:spcBef>
              <a:spcAft>
                <a:spcPts val="500"/>
              </a:spcAft>
              <a:buFont typeface="Arial" pitchFamily="34" charset="0"/>
              <a:buChar char="•"/>
              <a:tabLst>
                <a:tab pos="5356720" algn="r"/>
              </a:tabLst>
              <a:defRPr b="0">
                <a:solidFill>
                  <a:srgbClr val="000000"/>
                </a:solidFill>
              </a:defRPr>
            </a:lvl2pPr>
            <a:lvl3pPr marL="179910" indent="-179910">
              <a:lnSpc>
                <a:spcPct val="100000"/>
              </a:lnSpc>
              <a:spcBef>
                <a:spcPts val="500"/>
              </a:spcBef>
              <a:spcAft>
                <a:spcPts val="500"/>
              </a:spcAft>
              <a:buFont typeface="Arial" pitchFamily="34" charset="0"/>
              <a:buChar char="•"/>
              <a:tabLst>
                <a:tab pos="5356720" algn="r"/>
              </a:tabLst>
              <a:defRPr b="1">
                <a:solidFill>
                  <a:srgbClr val="000000"/>
                </a:solidFill>
              </a:defRPr>
            </a:lvl3pPr>
            <a:lvl4pPr marL="359820" indent="-179910">
              <a:lnSpc>
                <a:spcPct val="100000"/>
              </a:lnSpc>
              <a:spcBef>
                <a:spcPts val="500"/>
              </a:spcBef>
              <a:spcAft>
                <a:spcPts val="500"/>
              </a:spcAft>
              <a:buFont typeface="Arial" pitchFamily="34" charset="0"/>
              <a:buChar char="•"/>
              <a:tabLst>
                <a:tab pos="5356720" algn="r"/>
              </a:tabLst>
              <a:defRPr b="0">
                <a:solidFill>
                  <a:srgbClr val="000000"/>
                </a:solidFill>
              </a:defRPr>
            </a:lvl4pPr>
            <a:lvl5pPr marL="359820" indent="-179910">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noProof="0"/>
              <a:t>Click to edit the toc / contact</a:t>
            </a:r>
          </a:p>
          <a:p>
            <a:pPr lvl="1"/>
            <a:r>
              <a:rPr lang="en-US" noProof="0"/>
              <a:t>chapter</a:t>
            </a:r>
          </a:p>
          <a:p>
            <a:pPr lvl="2"/>
            <a:r>
              <a:rPr lang="en-US" noProof="0"/>
              <a:t>active chapter</a:t>
            </a:r>
          </a:p>
          <a:p>
            <a:pPr lvl="3"/>
            <a:r>
              <a:rPr lang="en-US" noProof="0"/>
              <a:t>subchapter</a:t>
            </a:r>
          </a:p>
          <a:p>
            <a:pPr lvl="4"/>
            <a:r>
              <a:rPr lang="en-US" noProof="0"/>
              <a:t>active subchapter</a:t>
            </a:r>
          </a:p>
        </p:txBody>
      </p:sp>
      <p:sp>
        <p:nvSpPr>
          <p:cNvPr id="8" name="Bildplatzhalter 7"/>
          <p:cNvSpPr>
            <a:spLocks noGrp="1"/>
          </p:cNvSpPr>
          <p:nvPr>
            <p:ph type="pic" sz="quarter" idx="15"/>
          </p:nvPr>
        </p:nvSpPr>
        <p:spPr>
          <a:xfrm>
            <a:off x="0" y="1439999"/>
            <a:ext cx="4512050" cy="4752000"/>
          </a:xfrm>
        </p:spPr>
        <p:txBody>
          <a:bodyPr tIns="1800000"/>
          <a:lstStyle>
            <a:lvl1pPr algn="ctr">
              <a:defRPr/>
            </a:lvl1pPr>
          </a:lstStyle>
          <a:p>
            <a:r>
              <a:rPr lang="de-DE" noProof="0"/>
              <a:t>Bild durch Klicken auf Symbol hinzufügen</a:t>
            </a:r>
            <a:endParaRPr lang="en-US" noProof="0"/>
          </a:p>
        </p:txBody>
      </p:sp>
    </p:spTree>
    <p:custDataLst>
      <p:tags r:id="rId1"/>
    </p:custDataLst>
    <p:extLst>
      <p:ext uri="{BB962C8B-B14F-4D97-AF65-F5344CB8AC3E}">
        <p14:creationId xmlns:p14="http://schemas.microsoft.com/office/powerpoint/2010/main" val="5746124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217E5C-E574-4B73-821A-7BC1ED4B0576}"/>
              </a:ext>
            </a:extLst>
          </p:cNvPr>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31403018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2192000" cy="1440000"/>
          </a:xfrm>
        </p:spPr>
        <p:txBody>
          <a:bodyPr/>
          <a:lstStyle>
            <a:lvl1pPr>
              <a:defRPr/>
            </a:lvl1pPr>
          </a:lstStyle>
          <a:p>
            <a:r>
              <a:rPr lang="de-DE" noProof="0"/>
              <a:t>Mastertitelformat bearbeiten</a:t>
            </a:r>
            <a:endParaRPr lang="en-US" noProof="0"/>
          </a:p>
        </p:txBody>
      </p:sp>
      <p:sp>
        <p:nvSpPr>
          <p:cNvPr id="13" name="cdtText Placeholder 12 Id13"/>
          <p:cNvSpPr>
            <a:spLocks noGrp="1"/>
          </p:cNvSpPr>
          <p:nvPr>
            <p:ph type="body" sz="quarter" idx="13"/>
            <p:custDataLst>
              <p:tags r:id="rId4"/>
            </p:custDataLst>
          </p:nvPr>
        </p:nvSpPr>
        <p:spPr>
          <a:xfrm>
            <a:off x="626737" y="1443038"/>
            <a:ext cx="3885890"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5" name="cdtTextplatzhalter 12 Id5"/>
          <p:cNvSpPr>
            <a:spLocks noGrp="1"/>
          </p:cNvSpPr>
          <p:nvPr>
            <p:ph type="body" sz="quarter" idx="14" hasCustomPrompt="1"/>
            <p:custDataLst>
              <p:tags r:id="rId5"/>
            </p:custDataLst>
          </p:nvPr>
        </p:nvSpPr>
        <p:spPr bwMode="auto">
          <a:xfrm>
            <a:off x="4656570" y="1440000"/>
            <a:ext cx="7535430" cy="4752000"/>
          </a:xfrm>
          <a:solidFill>
            <a:srgbClr val="DFE6E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9910" indent="-179910">
              <a:lnSpc>
                <a:spcPct val="100000"/>
              </a:lnSpc>
              <a:spcBef>
                <a:spcPts val="500"/>
              </a:spcBef>
              <a:spcAft>
                <a:spcPts val="500"/>
              </a:spcAft>
              <a:buFont typeface="Arial" pitchFamily="34" charset="0"/>
              <a:buChar char="•"/>
              <a:tabLst>
                <a:tab pos="5356720" algn="r"/>
              </a:tabLst>
              <a:defRPr b="0">
                <a:solidFill>
                  <a:srgbClr val="000000"/>
                </a:solidFill>
              </a:defRPr>
            </a:lvl2pPr>
            <a:lvl3pPr marL="179910" indent="-179910">
              <a:lnSpc>
                <a:spcPct val="100000"/>
              </a:lnSpc>
              <a:spcBef>
                <a:spcPts val="500"/>
              </a:spcBef>
              <a:spcAft>
                <a:spcPts val="500"/>
              </a:spcAft>
              <a:buFont typeface="Arial" pitchFamily="34" charset="0"/>
              <a:buChar char="•"/>
              <a:tabLst>
                <a:tab pos="5356720" algn="r"/>
              </a:tabLst>
              <a:defRPr b="1">
                <a:solidFill>
                  <a:srgbClr val="000000"/>
                </a:solidFill>
              </a:defRPr>
            </a:lvl3pPr>
            <a:lvl4pPr marL="359820" indent="-179910">
              <a:lnSpc>
                <a:spcPct val="100000"/>
              </a:lnSpc>
              <a:spcBef>
                <a:spcPts val="500"/>
              </a:spcBef>
              <a:spcAft>
                <a:spcPts val="500"/>
              </a:spcAft>
              <a:buFont typeface="Arial" pitchFamily="34" charset="0"/>
              <a:buChar char="•"/>
              <a:tabLst>
                <a:tab pos="5356720" algn="r"/>
              </a:tabLst>
              <a:defRPr b="0">
                <a:solidFill>
                  <a:srgbClr val="000000"/>
                </a:solidFill>
              </a:defRPr>
            </a:lvl4pPr>
            <a:lvl5pPr marL="359820" indent="-179910">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noProof="0"/>
              <a:t>Click to edit the toc/contact</a:t>
            </a:r>
          </a:p>
          <a:p>
            <a:pPr lvl="1"/>
            <a:r>
              <a:rPr lang="en-US" noProof="0"/>
              <a:t>chapter</a:t>
            </a:r>
          </a:p>
          <a:p>
            <a:pPr lvl="2"/>
            <a:r>
              <a:rPr lang="en-US" noProof="0"/>
              <a:t>active chapter</a:t>
            </a:r>
          </a:p>
          <a:p>
            <a:pPr lvl="3"/>
            <a:r>
              <a:rPr lang="en-US" noProof="0"/>
              <a:t>subchapter</a:t>
            </a:r>
          </a:p>
          <a:p>
            <a:pPr lvl="4"/>
            <a:r>
              <a:rPr lang="en-US" noProof="0"/>
              <a:t>active subchapter</a:t>
            </a:r>
          </a:p>
        </p:txBody>
      </p:sp>
    </p:spTree>
    <p:custDataLst>
      <p:custData r:id="rId1"/>
      <p:tags r:id="rId2"/>
    </p:custDataLst>
    <p:extLst>
      <p:ext uri="{BB962C8B-B14F-4D97-AF65-F5344CB8AC3E}">
        <p14:creationId xmlns:p14="http://schemas.microsoft.com/office/powerpoint/2010/main" val="11552613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p>
            <a:r>
              <a:rPr lang="en-US"/>
              <a:t>Click to edit Master title style</a:t>
            </a:r>
            <a:endParaRPr lang="de-DE"/>
          </a:p>
        </p:txBody>
      </p:sp>
    </p:spTree>
    <p:custDataLst>
      <p:custData r:id="rId1"/>
      <p:tags r:id="rId2"/>
    </p:custDataLst>
    <p:extLst>
      <p:ext uri="{BB962C8B-B14F-4D97-AF65-F5344CB8AC3E}">
        <p14:creationId xmlns:p14="http://schemas.microsoft.com/office/powerpoint/2010/main" val="321655588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en-US" noProof="0"/>
          </a:p>
        </p:txBody>
      </p:sp>
      <p:sp>
        <p:nvSpPr>
          <p:cNvPr id="4" name="Bildplatzhalter 3"/>
          <p:cNvSpPr>
            <a:spLocks noGrp="1"/>
          </p:cNvSpPr>
          <p:nvPr>
            <p:ph type="pic" sz="quarter" idx="10"/>
          </p:nvPr>
        </p:nvSpPr>
        <p:spPr>
          <a:xfrm>
            <a:off x="0" y="1440000"/>
            <a:ext cx="12197647" cy="4752000"/>
          </a:xfrm>
        </p:spPr>
        <p:txBody>
          <a:bodyPr tIns="1800000"/>
          <a:lstStyle>
            <a:lvl1pPr algn="ctr">
              <a:defRPr/>
            </a:lvl1pPr>
          </a:lstStyle>
          <a:p>
            <a:r>
              <a:rPr lang="de-DE" noProof="0"/>
              <a:t>Bild durch Klicken auf Symbol hinzufügen</a:t>
            </a:r>
            <a:endParaRPr lang="en-US" noProof="0"/>
          </a:p>
        </p:txBody>
      </p:sp>
    </p:spTree>
    <p:custDataLst>
      <p:tags r:id="rId1"/>
    </p:custDataLst>
    <p:extLst>
      <p:ext uri="{BB962C8B-B14F-4D97-AF65-F5344CB8AC3E}">
        <p14:creationId xmlns:p14="http://schemas.microsoft.com/office/powerpoint/2010/main" val="38467915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ull bleed image">
    <p:bg>
      <p:bgPr>
        <a:solidFill>
          <a:srgbClr val="FFFFFF"/>
        </a:solidFill>
        <a:effectLst/>
      </p:bgPr>
    </p:bg>
    <p:spTree>
      <p:nvGrpSpPr>
        <p:cNvPr id="1" name=""/>
        <p:cNvGrpSpPr/>
        <p:nvPr/>
      </p:nvGrpSpPr>
      <p:grpSpPr>
        <a:xfrm>
          <a:off x="0" y="0"/>
          <a:ext cx="0" cy="0"/>
          <a:chOff x="0" y="0"/>
          <a:chExt cx="0" cy="0"/>
        </a:xfrm>
      </p:grpSpPr>
      <p:sp>
        <p:nvSpPr>
          <p:cNvPr id="5" name="Rechteck 4"/>
          <p:cNvSpPr/>
          <p:nvPr userDrawn="1"/>
        </p:nvSpPr>
        <p:spPr bwMode="auto">
          <a:xfrm>
            <a:off x="0" y="1"/>
            <a:ext cx="12192000" cy="1439999"/>
          </a:xfrm>
          <a:prstGeom prst="rect">
            <a:avLst/>
          </a:prstGeom>
          <a:solidFill>
            <a:srgbClr val="FFFFFF"/>
          </a:solidFill>
          <a:ln w="127">
            <a:solidFill>
              <a:srgbClr val="FFFFFF"/>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de-DE" sz="1799" noProof="0">
              <a:solidFill>
                <a:schemeClr val="tx1"/>
              </a:solidFill>
              <a:latin typeface="+mn-lt"/>
              <a:ea typeface="Arial Unicode MS" panose="020B0604020202020204" pitchFamily="34" charset="-128"/>
              <a:cs typeface="Arial Unicode MS" panose="020B0604020202020204" pitchFamily="34" charset="-128"/>
            </a:endParaRPr>
          </a:p>
        </p:txBody>
      </p:sp>
      <p:sp>
        <p:nvSpPr>
          <p:cNvPr id="4" name="Bildplatzhalter 3"/>
          <p:cNvSpPr>
            <a:spLocks noGrp="1"/>
          </p:cNvSpPr>
          <p:nvPr>
            <p:ph type="pic" sz="quarter" idx="10"/>
          </p:nvPr>
        </p:nvSpPr>
        <p:spPr>
          <a:xfrm>
            <a:off x="0" y="-2784"/>
            <a:ext cx="12190451" cy="6858000"/>
          </a:xfrm>
          <a:noFill/>
        </p:spPr>
        <p:txBody>
          <a:bodyPr tIns="1800000"/>
          <a:lstStyle>
            <a:lvl1pPr algn="ctr">
              <a:defRPr/>
            </a:lvl1pPr>
          </a:lstStyle>
          <a:p>
            <a:r>
              <a:rPr lang="de-DE" noProof="0"/>
              <a:t>Bild durch Klicken auf Symbol hinzufügen</a:t>
            </a:r>
            <a:endParaRPr lang="en-US" noProof="0"/>
          </a:p>
        </p:txBody>
      </p:sp>
      <p:sp>
        <p:nvSpPr>
          <p:cNvPr id="2" name="Titel 1"/>
          <p:cNvSpPr>
            <a:spLocks noGrp="1"/>
          </p:cNvSpPr>
          <p:nvPr>
            <p:ph type="title"/>
          </p:nvPr>
        </p:nvSpPr>
        <p:spPr bwMode="gray"/>
        <p:txBody>
          <a:bodyPr/>
          <a:lstStyle>
            <a:lvl1pPr>
              <a:defRPr>
                <a:solidFill>
                  <a:schemeClr val="tx1"/>
                </a:solidFill>
              </a:defRPr>
            </a:lvl1pPr>
          </a:lstStyle>
          <a:p>
            <a:r>
              <a:rPr lang="de-DE" noProof="0"/>
              <a:t>Mastertitelformat bearbeiten</a:t>
            </a:r>
            <a:endParaRPr lang="en-US" noProof="0"/>
          </a:p>
        </p:txBody>
      </p:sp>
      <p:grpSp>
        <p:nvGrpSpPr>
          <p:cNvPr id="6" name="Gruppieren 5"/>
          <p:cNvGrpSpPr/>
          <p:nvPr userDrawn="1"/>
        </p:nvGrpSpPr>
        <p:grpSpPr>
          <a:xfrm>
            <a:off x="-215888" y="-216000"/>
            <a:ext cx="12622226" cy="7290000"/>
            <a:chOff x="-216000" y="-216000"/>
            <a:chExt cx="12628800" cy="7290000"/>
          </a:xfrm>
        </p:grpSpPr>
        <p:cxnSp>
          <p:nvCxnSpPr>
            <p:cNvPr id="7" name="Gerade Verbindung 6"/>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9" name="Group 33">
            <a:extLst>
              <a:ext uri="{FF2B5EF4-FFF2-40B4-BE49-F238E27FC236}">
                <a16:creationId xmlns:a16="http://schemas.microsoft.com/office/drawing/2014/main" id="{2A85A9C6-E0DA-4E07-A27D-557E2F47C2D0}"/>
              </a:ext>
            </a:extLst>
          </p:cNvPr>
          <p:cNvGrpSpPr>
            <a:grpSpLocks noChangeAspect="1"/>
          </p:cNvGrpSpPr>
          <p:nvPr userDrawn="1"/>
        </p:nvGrpSpPr>
        <p:grpSpPr bwMode="gray">
          <a:xfrm>
            <a:off x="9550189" y="323850"/>
            <a:ext cx="2157876" cy="914400"/>
            <a:chOff x="6019" y="204"/>
            <a:chExt cx="1360" cy="576"/>
          </a:xfrm>
        </p:grpSpPr>
        <p:sp>
          <p:nvSpPr>
            <p:cNvPr id="30" name="AutoShape 32">
              <a:extLst>
                <a:ext uri="{FF2B5EF4-FFF2-40B4-BE49-F238E27FC236}">
                  <a16:creationId xmlns:a16="http://schemas.microsoft.com/office/drawing/2014/main" id="{84FB5891-8393-4EEB-9569-9E87EAD9739C}"/>
                </a:ext>
              </a:extLst>
            </p:cNvPr>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1" name="Rectangle 34">
              <a:extLst>
                <a:ext uri="{FF2B5EF4-FFF2-40B4-BE49-F238E27FC236}">
                  <a16:creationId xmlns:a16="http://schemas.microsoft.com/office/drawing/2014/main" id="{5C7F6072-CF7C-460C-9FCD-D1B16DA3E8C6}"/>
                </a:ext>
              </a:extLst>
            </p:cNvPr>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2" name="Freeform 35">
              <a:extLst>
                <a:ext uri="{FF2B5EF4-FFF2-40B4-BE49-F238E27FC236}">
                  <a16:creationId xmlns:a16="http://schemas.microsoft.com/office/drawing/2014/main" id="{0E607017-0E29-4B7C-B58A-710CE9C86102}"/>
                </a:ext>
              </a:extLst>
            </p:cNvPr>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3" name="Freeform 36">
              <a:extLst>
                <a:ext uri="{FF2B5EF4-FFF2-40B4-BE49-F238E27FC236}">
                  <a16:creationId xmlns:a16="http://schemas.microsoft.com/office/drawing/2014/main" id="{54835F72-73E8-41C0-AADF-CD541E0C9DFA}"/>
                </a:ext>
              </a:extLst>
            </p:cNvPr>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4" name="Freeform 37">
              <a:extLst>
                <a:ext uri="{FF2B5EF4-FFF2-40B4-BE49-F238E27FC236}">
                  <a16:creationId xmlns:a16="http://schemas.microsoft.com/office/drawing/2014/main" id="{311506E0-0CC9-48C8-9962-D5E5CA63BBA5}"/>
                </a:ext>
              </a:extLst>
            </p:cNvPr>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5" name="Freeform 38">
              <a:extLst>
                <a:ext uri="{FF2B5EF4-FFF2-40B4-BE49-F238E27FC236}">
                  <a16:creationId xmlns:a16="http://schemas.microsoft.com/office/drawing/2014/main" id="{9D291FA3-4281-407D-BF1E-DA16FB58EA42}"/>
                </a:ext>
              </a:extLst>
            </p:cNvPr>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6" name="Freeform 39">
              <a:extLst>
                <a:ext uri="{FF2B5EF4-FFF2-40B4-BE49-F238E27FC236}">
                  <a16:creationId xmlns:a16="http://schemas.microsoft.com/office/drawing/2014/main" id="{4FD915AE-87E6-44DB-9EB4-D92A6D49E873}"/>
                </a:ext>
              </a:extLst>
            </p:cNvPr>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7" name="Freeform 40">
              <a:extLst>
                <a:ext uri="{FF2B5EF4-FFF2-40B4-BE49-F238E27FC236}">
                  <a16:creationId xmlns:a16="http://schemas.microsoft.com/office/drawing/2014/main" id="{74B33E3F-78F0-4807-B65C-768DD0323CD9}"/>
                </a:ext>
              </a:extLst>
            </p:cNvPr>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8" name="Freeform 41">
              <a:extLst>
                <a:ext uri="{FF2B5EF4-FFF2-40B4-BE49-F238E27FC236}">
                  <a16:creationId xmlns:a16="http://schemas.microsoft.com/office/drawing/2014/main" id="{B8E4A414-B3AD-4063-92D1-1659133EF7D3}"/>
                </a:ext>
              </a:extLst>
            </p:cNvPr>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39" name="Freeform 42">
              <a:extLst>
                <a:ext uri="{FF2B5EF4-FFF2-40B4-BE49-F238E27FC236}">
                  <a16:creationId xmlns:a16="http://schemas.microsoft.com/office/drawing/2014/main" id="{7C540B59-23BB-4F77-B1FE-B3F40060F3E2}"/>
                </a:ext>
              </a:extLst>
            </p:cNvPr>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0" name="Freeform 43">
              <a:extLst>
                <a:ext uri="{FF2B5EF4-FFF2-40B4-BE49-F238E27FC236}">
                  <a16:creationId xmlns:a16="http://schemas.microsoft.com/office/drawing/2014/main" id="{4D0F34CB-77FC-43F7-8E75-04FE863E77BA}"/>
                </a:ext>
              </a:extLst>
            </p:cNvPr>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1" name="Freeform 44">
              <a:extLst>
                <a:ext uri="{FF2B5EF4-FFF2-40B4-BE49-F238E27FC236}">
                  <a16:creationId xmlns:a16="http://schemas.microsoft.com/office/drawing/2014/main" id="{470DBE63-8755-4C4B-B475-E3C369B6C0E9}"/>
                </a:ext>
              </a:extLst>
            </p:cNvPr>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2" name="Freeform 45">
              <a:extLst>
                <a:ext uri="{FF2B5EF4-FFF2-40B4-BE49-F238E27FC236}">
                  <a16:creationId xmlns:a16="http://schemas.microsoft.com/office/drawing/2014/main" id="{8B7C6C4E-8FD2-4AB9-9A03-8291008FF151}"/>
                </a:ext>
              </a:extLst>
            </p:cNvPr>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3" name="Freeform 46">
              <a:extLst>
                <a:ext uri="{FF2B5EF4-FFF2-40B4-BE49-F238E27FC236}">
                  <a16:creationId xmlns:a16="http://schemas.microsoft.com/office/drawing/2014/main" id="{0612EB3F-84F2-4753-AA0B-F832F5213917}"/>
                </a:ext>
              </a:extLst>
            </p:cNvPr>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4" name="Freeform 47">
              <a:extLst>
                <a:ext uri="{FF2B5EF4-FFF2-40B4-BE49-F238E27FC236}">
                  <a16:creationId xmlns:a16="http://schemas.microsoft.com/office/drawing/2014/main" id="{33B73EE0-4139-4B7E-BCDF-673B81E3EC56}"/>
                </a:ext>
              </a:extLst>
            </p:cNvPr>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5" name="Freeform 48">
              <a:extLst>
                <a:ext uri="{FF2B5EF4-FFF2-40B4-BE49-F238E27FC236}">
                  <a16:creationId xmlns:a16="http://schemas.microsoft.com/office/drawing/2014/main" id="{80B34C9E-6D7F-462E-88A4-99806900389A}"/>
                </a:ext>
              </a:extLst>
            </p:cNvPr>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6" name="Freeform 49">
              <a:extLst>
                <a:ext uri="{FF2B5EF4-FFF2-40B4-BE49-F238E27FC236}">
                  <a16:creationId xmlns:a16="http://schemas.microsoft.com/office/drawing/2014/main" id="{68F11F9C-677A-4208-9647-8733585E4CDE}"/>
                </a:ext>
              </a:extLst>
            </p:cNvPr>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7" name="Freeform 50">
              <a:extLst>
                <a:ext uri="{FF2B5EF4-FFF2-40B4-BE49-F238E27FC236}">
                  <a16:creationId xmlns:a16="http://schemas.microsoft.com/office/drawing/2014/main" id="{ADE3EB08-1681-4446-B707-D0CB4E7237F8}"/>
                </a:ext>
              </a:extLst>
            </p:cNvPr>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8" name="Freeform 51">
              <a:extLst>
                <a:ext uri="{FF2B5EF4-FFF2-40B4-BE49-F238E27FC236}">
                  <a16:creationId xmlns:a16="http://schemas.microsoft.com/office/drawing/2014/main" id="{D4434900-963E-4F39-809F-69207DF6A2A7}"/>
                </a:ext>
              </a:extLst>
            </p:cNvPr>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49" name="Freeform 52">
              <a:extLst>
                <a:ext uri="{FF2B5EF4-FFF2-40B4-BE49-F238E27FC236}">
                  <a16:creationId xmlns:a16="http://schemas.microsoft.com/office/drawing/2014/main" id="{CD91A715-206F-4164-AFCD-0537F05D2821}"/>
                </a:ext>
              </a:extLst>
            </p:cNvPr>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0" name="Freeform 53">
              <a:extLst>
                <a:ext uri="{FF2B5EF4-FFF2-40B4-BE49-F238E27FC236}">
                  <a16:creationId xmlns:a16="http://schemas.microsoft.com/office/drawing/2014/main" id="{9C091D66-2305-443C-A071-D8B86B9FCCFD}"/>
                </a:ext>
              </a:extLst>
            </p:cNvPr>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1" name="Freeform 54">
              <a:extLst>
                <a:ext uri="{FF2B5EF4-FFF2-40B4-BE49-F238E27FC236}">
                  <a16:creationId xmlns:a16="http://schemas.microsoft.com/office/drawing/2014/main" id="{CA0A521C-93A7-43FA-9802-9F445A1D477D}"/>
                </a:ext>
              </a:extLst>
            </p:cNvPr>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2" name="Freeform 55">
              <a:extLst>
                <a:ext uri="{FF2B5EF4-FFF2-40B4-BE49-F238E27FC236}">
                  <a16:creationId xmlns:a16="http://schemas.microsoft.com/office/drawing/2014/main" id="{6D8AF5D6-DF0D-4547-9609-6F63A736F3B1}"/>
                </a:ext>
              </a:extLst>
            </p:cNvPr>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3" name="Freeform 56">
              <a:extLst>
                <a:ext uri="{FF2B5EF4-FFF2-40B4-BE49-F238E27FC236}">
                  <a16:creationId xmlns:a16="http://schemas.microsoft.com/office/drawing/2014/main" id="{4CE7778F-5D97-485B-81FA-0812ACC50D9E}"/>
                </a:ext>
              </a:extLst>
            </p:cNvPr>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4" name="Freeform 57">
              <a:extLst>
                <a:ext uri="{FF2B5EF4-FFF2-40B4-BE49-F238E27FC236}">
                  <a16:creationId xmlns:a16="http://schemas.microsoft.com/office/drawing/2014/main" id="{74E8D255-98E8-40F6-AD40-FDD4E5B4F768}"/>
                </a:ext>
              </a:extLst>
            </p:cNvPr>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5" name="Freeform 58">
              <a:extLst>
                <a:ext uri="{FF2B5EF4-FFF2-40B4-BE49-F238E27FC236}">
                  <a16:creationId xmlns:a16="http://schemas.microsoft.com/office/drawing/2014/main" id="{14C1DC6C-5C4F-4DBD-8CE2-32568B7643FC}"/>
                </a:ext>
              </a:extLst>
            </p:cNvPr>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6" name="Freeform 59">
              <a:extLst>
                <a:ext uri="{FF2B5EF4-FFF2-40B4-BE49-F238E27FC236}">
                  <a16:creationId xmlns:a16="http://schemas.microsoft.com/office/drawing/2014/main" id="{44DC7F26-31E9-439E-9179-CEF39155BF35}"/>
                </a:ext>
              </a:extLst>
            </p:cNvPr>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pic>
        <p:nvPicPr>
          <p:cNvPr id="57" name="Picture 109" descr="Image result for coca cola logo">
            <a:extLst>
              <a:ext uri="{FF2B5EF4-FFF2-40B4-BE49-F238E27FC236}">
                <a16:creationId xmlns:a16="http://schemas.microsoft.com/office/drawing/2014/main" id="{9F2536A3-333B-45D8-BAC1-D85879DFF8B9}"/>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8755936" y="523048"/>
            <a:ext cx="847562" cy="28111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296645936"/>
      </p:ext>
    </p:extLst>
  </p:cSld>
  <p:clrMapOvr>
    <a:overrideClrMapping bg1="dk1" tx1="lt1" bg2="dk2" tx2="lt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userDrawn="1"/>
        </p:nvGrpSpPr>
        <p:grpSpPr>
          <a:xfrm>
            <a:off x="0" y="1"/>
            <a:ext cx="12192000" cy="6861907"/>
            <a:chOff x="0" y="0"/>
            <a:chExt cx="12198350" cy="6861907"/>
          </a:xfrm>
        </p:grpSpPr>
        <p:sp>
          <p:nvSpPr>
            <p:cNvPr id="4" name="Rechteck 3"/>
            <p:cNvSpPr/>
            <p:nvPr userDrawn="1"/>
          </p:nvSpPr>
          <p:spPr bwMode="auto">
            <a:xfrm>
              <a:off x="0" y="0"/>
              <a:ext cx="12198350" cy="6861907"/>
            </a:xfrm>
            <a:prstGeom prst="rect">
              <a:avLst/>
            </a:prstGeom>
            <a:solidFill>
              <a:schemeClr val="tx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99" noProof="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799" noProof="0">
                <a:solidFill>
                  <a:schemeClr val="tx1"/>
                </a:solidFill>
                <a:latin typeface="+mn-lt"/>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bwMode="gray"/>
        <p:txBody>
          <a:bodyPr/>
          <a:lstStyle>
            <a:lvl1pPr>
              <a:defRPr>
                <a:solidFill>
                  <a:schemeClr val="tx1"/>
                </a:solidFill>
              </a:defRPr>
            </a:lvl1pPr>
          </a:lstStyle>
          <a:p>
            <a:r>
              <a:rPr lang="de-DE" noProof="0"/>
              <a:t>Mastertitelformat bearbeiten</a:t>
            </a:r>
            <a:endParaRPr lang="en-US" noProof="0"/>
          </a:p>
        </p:txBody>
      </p:sp>
      <p:grpSp>
        <p:nvGrpSpPr>
          <p:cNvPr id="8" name="Gruppieren 7"/>
          <p:cNvGrpSpPr/>
          <p:nvPr userDrawn="1"/>
        </p:nvGrpSpPr>
        <p:grpSpPr>
          <a:xfrm>
            <a:off x="-215888" y="-216000"/>
            <a:ext cx="12622226" cy="7290000"/>
            <a:chOff x="-216000" y="-216000"/>
            <a:chExt cx="12628800" cy="7290000"/>
          </a:xfrm>
        </p:grpSpPr>
        <p:cxnSp>
          <p:nvCxnSpPr>
            <p:cNvPr id="9" name="Gerade Verbindung 8"/>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 name="Gerade Verbindung 28"/>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29"/>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3724999374"/>
      </p:ext>
    </p:extLst>
  </p:cSld>
  <p:clrMapOvr>
    <a:overrideClrMapping bg1="dk1" tx1="lt1" bg2="dk2" tx2="lt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1"/>
            <a:ext cx="12192000" cy="6861907"/>
          </a:xfrm>
          <a:prstGeom prst="rect">
            <a:avLst/>
          </a:prstGeom>
          <a:solidFill>
            <a:srgbClr val="50BED7"/>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noProof="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lvl1pPr>
              <a:defRPr>
                <a:solidFill>
                  <a:schemeClr val="tx1"/>
                </a:solidFill>
              </a:defRPr>
            </a:lvl1pPr>
          </a:lstStyle>
          <a:p>
            <a:r>
              <a:rPr lang="de-DE" noProof="0"/>
              <a:t>Mastertitelformat bearbeiten</a:t>
            </a:r>
            <a:endParaRPr lang="en-US" noProof="0"/>
          </a:p>
        </p:txBody>
      </p:sp>
      <p:grpSp>
        <p:nvGrpSpPr>
          <p:cNvPr id="4" name="Gruppieren 3"/>
          <p:cNvGrpSpPr/>
          <p:nvPr userDrawn="1"/>
        </p:nvGrpSpPr>
        <p:grpSpPr>
          <a:xfrm>
            <a:off x="-215888" y="-216000"/>
            <a:ext cx="12622226" cy="7290000"/>
            <a:chOff x="-216000" y="-216000"/>
            <a:chExt cx="12628800" cy="7290000"/>
          </a:xfrm>
        </p:grpSpPr>
        <p:cxnSp>
          <p:nvCxnSpPr>
            <p:cNvPr id="5" name="Gerade Verbindung 4"/>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Gerade Verbindung 5"/>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 Verbindung 6"/>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3059857768"/>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icture dark 48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a:t>Click to edit </a:t>
            </a:r>
            <a:br>
              <a:rPr lang="en-US"/>
            </a:br>
            <a:r>
              <a:rPr lang="en-US"/>
              <a:t>Master title style 48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48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6021213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2192000" cy="1440000"/>
          </a:xfrm>
        </p:spPr>
        <p:txBody>
          <a:bodyPr/>
          <a:lstStyle/>
          <a:p>
            <a:r>
              <a:rPr lang="de-DE" noProof="0"/>
              <a:t>Mastertitelformat bearbeiten</a:t>
            </a:r>
            <a:endParaRPr lang="en-US" noProof="0"/>
          </a:p>
        </p:txBody>
      </p:sp>
      <p:sp>
        <p:nvSpPr>
          <p:cNvPr id="3" name="cdtContent Placeholder 2 Id3"/>
          <p:cNvSpPr>
            <a:spLocks noGrp="1"/>
          </p:cNvSpPr>
          <p:nvPr>
            <p:ph idx="1"/>
            <p:custDataLst>
              <p:tags r:id="rId4"/>
            </p:custDataLst>
          </p:nvPr>
        </p:nvSpPr>
        <p:spPr>
          <a:xfrm>
            <a:off x="626736" y="1443038"/>
            <a:ext cx="8204689" cy="4748962"/>
          </a:xfrm>
        </p:spPr>
        <p:txBody>
          <a:bodyPr/>
          <a:lstStyle>
            <a:lvl1pPr>
              <a:buFont typeface="Arial" pitchFamily="34" charset="0"/>
              <a:buNone/>
              <a:defRPr/>
            </a:lvl1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custDataLst>
      <p:custData r:id="rId1"/>
      <p:tags r:id="rId2"/>
    </p:custDataLst>
    <p:extLst>
      <p:ext uri="{BB962C8B-B14F-4D97-AF65-F5344CB8AC3E}">
        <p14:creationId xmlns:p14="http://schemas.microsoft.com/office/powerpoint/2010/main" val="890576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
            </p:custDataLst>
            <p:extLst>
              <p:ext uri="{D42A27DB-BD31-4B8C-83A1-F6EECF244321}">
                <p14:modId xmlns:p14="http://schemas.microsoft.com/office/powerpoint/2010/main" val="2793506005"/>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4" name="Objekt 3" hidden="1"/>
                      <p:cNvPicPr/>
                      <p:nvPr/>
                    </p:nvPicPr>
                    <p:blipFill>
                      <a:blip r:embed="rId8"/>
                      <a:stretch>
                        <a:fillRect/>
                      </a:stretch>
                    </p:blipFill>
                    <p:spPr>
                      <a:xfrm>
                        <a:off x="1588" y="1589"/>
                        <a:ext cx="1586" cy="1587"/>
                      </a:xfrm>
                      <a:prstGeom prst="rect">
                        <a:avLst/>
                      </a:prstGeom>
                    </p:spPr>
                  </p:pic>
                </p:oleObj>
              </mc:Fallback>
            </mc:AlternateContent>
          </a:graphicData>
        </a:graphic>
      </p:graphicFrame>
      <p:sp>
        <p:nvSpPr>
          <p:cNvPr id="2" name="cdtTitle 1 Id2"/>
          <p:cNvSpPr>
            <a:spLocks noGrp="1"/>
          </p:cNvSpPr>
          <p:nvPr>
            <p:ph type="title"/>
            <p:custDataLst>
              <p:tags r:id="rId4"/>
            </p:custDataLst>
          </p:nvPr>
        </p:nvSpPr>
        <p:spPr>
          <a:xfrm>
            <a:off x="0" y="-1"/>
            <a:ext cx="12192000" cy="1440000"/>
          </a:xfrm>
        </p:spPr>
        <p:txBody>
          <a:bodyPr/>
          <a:lstStyle/>
          <a:p>
            <a:r>
              <a:rPr lang="de-DE" noProof="0"/>
              <a:t>Mastertitelformat bearbeiten</a:t>
            </a:r>
            <a:endParaRPr lang="en-US" noProof="0"/>
          </a:p>
        </p:txBody>
      </p:sp>
      <p:sp>
        <p:nvSpPr>
          <p:cNvPr id="3" name="cdtContent Placeholder 2 Id3"/>
          <p:cNvSpPr>
            <a:spLocks noGrp="1"/>
          </p:cNvSpPr>
          <p:nvPr>
            <p:ph idx="1"/>
            <p:custDataLst>
              <p:tags r:id="rId5"/>
            </p:custDataLst>
          </p:nvPr>
        </p:nvSpPr>
        <p:spPr>
          <a:xfrm>
            <a:off x="626736" y="1443038"/>
            <a:ext cx="6764477"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custDataLst>
      <p:custData r:id="rId1"/>
      <p:tags r:id="rId2"/>
    </p:custDataLst>
    <p:extLst>
      <p:ext uri="{BB962C8B-B14F-4D97-AF65-F5344CB8AC3E}">
        <p14:creationId xmlns:p14="http://schemas.microsoft.com/office/powerpoint/2010/main" val="34066517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Two columns" preserve="1" userDrawn="1">
  <p:cSld name="Two columns">
    <p:spTree>
      <p:nvGrpSpPr>
        <p:cNvPr id="1" name=""/>
        <p:cNvGrpSpPr/>
        <p:nvPr/>
      </p:nvGrpSpPr>
      <p:grpSpPr>
        <a:xfrm>
          <a:off x="0" y="0"/>
          <a:ext cx="0" cy="0"/>
          <a:chOff x="0" y="0"/>
          <a:chExt cx="0" cy="0"/>
        </a:xfrm>
      </p:grpSpPr>
      <p:sp>
        <p:nvSpPr>
          <p:cNvPr id="3" name="cdtContent Placeholder 2 Id3"/>
          <p:cNvSpPr>
            <a:spLocks noGrp="1"/>
          </p:cNvSpPr>
          <p:nvPr>
            <p:ph sz="half" idx="1" hasCustomPrompt="1"/>
            <p:custDataLst>
              <p:tags r:id="rId3"/>
            </p:custDataLst>
          </p:nvPr>
        </p:nvSpPr>
        <p:spPr>
          <a:xfrm>
            <a:off x="626737" y="1443038"/>
            <a:ext cx="5469263"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298"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2pPr>
            <a:lvl3pPr marL="358596"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3pPr>
            <a:lvl4pPr marL="537894"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4pPr>
            <a:lvl5pPr marL="719640" marR="0" indent="-179910" algn="l" defTabSz="913943" rtl="0" eaLnBrk="1" fontAlgn="base" latinLnBrk="0" hangingPunct="1">
              <a:lnSpc>
                <a:spcPct val="100000"/>
              </a:lnSpc>
              <a:spcBef>
                <a:spcPts val="300"/>
              </a:spcBef>
              <a:spcAft>
                <a:spcPct val="0"/>
              </a:spcAft>
              <a:buClr>
                <a:srgbClr val="879BAA"/>
              </a:buClr>
              <a:buSzTx/>
              <a:buFontTx/>
              <a:buChar char="•"/>
              <a:tabLst/>
              <a:defRPr lang="de-DE"/>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dtContent Placeholder 3 Id4"/>
          <p:cNvSpPr>
            <a:spLocks noGrp="1"/>
          </p:cNvSpPr>
          <p:nvPr>
            <p:ph sz="half" idx="2" hasCustomPrompt="1"/>
            <p:custDataLst>
              <p:tags r:id="rId4"/>
            </p:custDataLst>
          </p:nvPr>
        </p:nvSpPr>
        <p:spPr>
          <a:xfrm>
            <a:off x="6240388" y="1443038"/>
            <a:ext cx="5469263"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298"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2pPr>
            <a:lvl3pPr marL="358596"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3pPr>
            <a:lvl4pPr marL="537894"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4pPr>
            <a:lvl5pPr marL="719640" marR="0" indent="-179910" algn="l" defTabSz="913943" rtl="0" eaLnBrk="1" fontAlgn="base" latinLnBrk="0" hangingPunct="1">
              <a:lnSpc>
                <a:spcPct val="100000"/>
              </a:lnSpc>
              <a:spcBef>
                <a:spcPts val="300"/>
              </a:spcBef>
              <a:spcAft>
                <a:spcPct val="0"/>
              </a:spcAft>
              <a:buClr>
                <a:srgbClr val="879BAA"/>
              </a:buClr>
              <a:buSzTx/>
              <a:buFontTx/>
              <a:buChar char="•"/>
              <a:tabLst/>
              <a:defRPr lang="de-DE"/>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el 4"/>
          <p:cNvSpPr>
            <a:spLocks noGrp="1"/>
          </p:cNvSpPr>
          <p:nvPr>
            <p:ph type="title" hasCustomPrompt="1"/>
          </p:nvPr>
        </p:nvSpPr>
        <p:spPr/>
        <p:txBody>
          <a:bodyPr/>
          <a:lstStyle/>
          <a:p>
            <a:r>
              <a:rPr lang="en-US"/>
              <a:t>Click to edit Master title style</a:t>
            </a:r>
            <a:endParaRPr lang="de-DE"/>
          </a:p>
        </p:txBody>
      </p:sp>
    </p:spTree>
    <p:custDataLst>
      <p:custData r:id="rId1"/>
      <p:tags r:id="rId2"/>
    </p:custDataLst>
    <p:extLst>
      <p:ext uri="{BB962C8B-B14F-4D97-AF65-F5344CB8AC3E}">
        <p14:creationId xmlns:p14="http://schemas.microsoft.com/office/powerpoint/2010/main" val="25175059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noProof="0"/>
              <a:t>Mastertitelformat bearbeiten</a:t>
            </a:r>
            <a:endParaRPr lang="en-US" noProof="0"/>
          </a:p>
        </p:txBody>
      </p:sp>
      <p:sp>
        <p:nvSpPr>
          <p:cNvPr id="3" name="cdtContent Placeholder 2 Id3"/>
          <p:cNvSpPr>
            <a:spLocks noGrp="1"/>
          </p:cNvSpPr>
          <p:nvPr>
            <p:ph sz="half" idx="1" hasCustomPrompt="1"/>
            <p:custDataLst>
              <p:tags r:id="rId2"/>
            </p:custDataLst>
          </p:nvPr>
        </p:nvSpPr>
        <p:spPr>
          <a:xfrm>
            <a:off x="626737" y="1443038"/>
            <a:ext cx="5469263"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298"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2pPr>
            <a:lvl3pPr marL="358596"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3pPr>
            <a:lvl4pPr marL="537894"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4pPr>
            <a:lvl5pPr marL="719640" marR="0" indent="-179910" algn="l" defTabSz="913943" rtl="0" eaLnBrk="1" fontAlgn="base" latinLnBrk="0" hangingPunct="1">
              <a:lnSpc>
                <a:spcPct val="100000"/>
              </a:lnSpc>
              <a:spcBef>
                <a:spcPts val="300"/>
              </a:spcBef>
              <a:spcAft>
                <a:spcPct val="0"/>
              </a:spcAft>
              <a:buClr>
                <a:srgbClr val="879BAA"/>
              </a:buClr>
              <a:buSzTx/>
              <a:buFontTx/>
              <a:buChar char="•"/>
              <a:tabLst/>
              <a:defRPr lang="de-DE"/>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Bildplatzhalter 4"/>
          <p:cNvSpPr>
            <a:spLocks noGrp="1"/>
          </p:cNvSpPr>
          <p:nvPr>
            <p:ph type="pic" sz="quarter" idx="10"/>
          </p:nvPr>
        </p:nvSpPr>
        <p:spPr>
          <a:xfrm>
            <a:off x="6240387" y="1440000"/>
            <a:ext cx="5469151" cy="2304000"/>
          </a:xfrm>
        </p:spPr>
        <p:txBody>
          <a:bodyPr tIns="648000"/>
          <a:lstStyle>
            <a:lvl1pPr algn="ctr">
              <a:defRPr/>
            </a:lvl1pPr>
          </a:lstStyle>
          <a:p>
            <a:r>
              <a:rPr lang="de-DE" noProof="0"/>
              <a:t>Bild durch Klicken auf Symbol hinzufügen</a:t>
            </a:r>
            <a:endParaRPr lang="en-US" noProof="0"/>
          </a:p>
        </p:txBody>
      </p:sp>
      <p:sp>
        <p:nvSpPr>
          <p:cNvPr id="6" name="Bildplatzhalter 4"/>
          <p:cNvSpPr>
            <a:spLocks noGrp="1"/>
          </p:cNvSpPr>
          <p:nvPr>
            <p:ph type="pic" sz="quarter" idx="11"/>
          </p:nvPr>
        </p:nvSpPr>
        <p:spPr>
          <a:xfrm>
            <a:off x="6240387" y="3888000"/>
            <a:ext cx="5469151" cy="2304000"/>
          </a:xfrm>
        </p:spPr>
        <p:txBody>
          <a:bodyPr tIns="648000"/>
          <a:lstStyle>
            <a:lvl1pPr algn="ctr">
              <a:defRPr/>
            </a:lvl1pPr>
          </a:lstStyle>
          <a:p>
            <a:r>
              <a:rPr lang="de-DE" noProof="0"/>
              <a:t>Bild durch Klicken auf Symbol hinzufügen</a:t>
            </a:r>
            <a:endParaRPr lang="en-US" noProof="0"/>
          </a:p>
        </p:txBody>
      </p:sp>
    </p:spTree>
    <p:custDataLst>
      <p:tags r:id="rId1"/>
    </p:custDataLst>
    <p:extLst>
      <p:ext uri="{BB962C8B-B14F-4D97-AF65-F5344CB8AC3E}">
        <p14:creationId xmlns:p14="http://schemas.microsoft.com/office/powerpoint/2010/main" val="327387886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en-US" noProof="0"/>
          </a:p>
        </p:txBody>
      </p:sp>
      <p:sp>
        <p:nvSpPr>
          <p:cNvPr id="3" name="cdtContent Placeholder 2 Id3"/>
          <p:cNvSpPr>
            <a:spLocks noGrp="1"/>
          </p:cNvSpPr>
          <p:nvPr>
            <p:ph sz="half" idx="1" hasCustomPrompt="1"/>
            <p:custDataLst>
              <p:tags r:id="rId2"/>
            </p:custDataLst>
          </p:nvPr>
        </p:nvSpPr>
        <p:spPr>
          <a:xfrm>
            <a:off x="626736" y="1440000"/>
            <a:ext cx="5900927" cy="4752000"/>
          </a:xfrm>
          <a:solidFill>
            <a:srgbClr val="DFE6ED"/>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3943"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298"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2pPr>
            <a:lvl3pPr marL="358596"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3pPr>
            <a:lvl4pPr marL="537894"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4pPr>
            <a:lvl5pPr marL="719640" marR="0" indent="-179910" algn="l" defTabSz="913943" rtl="0" eaLnBrk="1" fontAlgn="base" latinLnBrk="0" hangingPunct="1">
              <a:lnSpc>
                <a:spcPct val="100000"/>
              </a:lnSpc>
              <a:spcBef>
                <a:spcPts val="300"/>
              </a:spcBef>
              <a:spcAft>
                <a:spcPct val="0"/>
              </a:spcAft>
              <a:buClr>
                <a:srgbClr val="879BAA"/>
              </a:buClr>
              <a:buSzTx/>
              <a:buFontTx/>
              <a:buChar char="•"/>
              <a:tabLst/>
              <a:defRPr lang="de-DE"/>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Bildplatzhalter 4"/>
          <p:cNvSpPr>
            <a:spLocks noGrp="1"/>
          </p:cNvSpPr>
          <p:nvPr>
            <p:ph type="pic" sz="quarter" idx="10"/>
          </p:nvPr>
        </p:nvSpPr>
        <p:spPr>
          <a:xfrm>
            <a:off x="6240387" y="1746000"/>
            <a:ext cx="5469151" cy="1998000"/>
          </a:xfrm>
        </p:spPr>
        <p:txBody>
          <a:bodyPr tIns="648000"/>
          <a:lstStyle>
            <a:lvl1pPr algn="ctr">
              <a:defRPr/>
            </a:lvl1pPr>
          </a:lstStyle>
          <a:p>
            <a:r>
              <a:rPr lang="de-DE" noProof="0"/>
              <a:t>Bild durch Klicken auf Symbol hinzufügen</a:t>
            </a:r>
            <a:endParaRPr lang="en-US" noProof="0"/>
          </a:p>
        </p:txBody>
      </p:sp>
      <p:sp>
        <p:nvSpPr>
          <p:cNvPr id="6" name="Bildplatzhalter 4"/>
          <p:cNvSpPr>
            <a:spLocks noGrp="1"/>
          </p:cNvSpPr>
          <p:nvPr>
            <p:ph type="pic" sz="quarter" idx="11"/>
          </p:nvPr>
        </p:nvSpPr>
        <p:spPr>
          <a:xfrm>
            <a:off x="6240387" y="3888000"/>
            <a:ext cx="5469151" cy="1998000"/>
          </a:xfrm>
        </p:spPr>
        <p:txBody>
          <a:bodyPr tIns="648000"/>
          <a:lstStyle>
            <a:lvl1pPr algn="ctr">
              <a:defRPr/>
            </a:lvl1pPr>
          </a:lstStyle>
          <a:p>
            <a:r>
              <a:rPr lang="de-DE" noProof="0"/>
              <a:t>Bild durch Klicken auf Symbol hinzufügen</a:t>
            </a:r>
            <a:endParaRPr lang="en-US" noProof="0"/>
          </a:p>
        </p:txBody>
      </p:sp>
    </p:spTree>
    <p:custDataLst>
      <p:tags r:id="rId1"/>
    </p:custDataLst>
    <p:extLst>
      <p:ext uri="{BB962C8B-B14F-4D97-AF65-F5344CB8AC3E}">
        <p14:creationId xmlns:p14="http://schemas.microsoft.com/office/powerpoint/2010/main" val="212216432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2192000" cy="1440000"/>
          </a:xfrm>
        </p:spPr>
        <p:txBody>
          <a:bodyPr/>
          <a:lstStyle/>
          <a:p>
            <a:r>
              <a:rPr lang="de-DE" noProof="0"/>
              <a:t>Mastertitelformat bearbeiten</a:t>
            </a:r>
            <a:endParaRPr lang="en-US" noProof="0"/>
          </a:p>
        </p:txBody>
      </p:sp>
      <p:sp>
        <p:nvSpPr>
          <p:cNvPr id="3" name="cdtContent Placeholder 2 Id3"/>
          <p:cNvSpPr>
            <a:spLocks noGrp="1"/>
          </p:cNvSpPr>
          <p:nvPr>
            <p:ph idx="1"/>
            <p:custDataLst>
              <p:tags r:id="rId4"/>
            </p:custDataLst>
          </p:nvPr>
        </p:nvSpPr>
        <p:spPr>
          <a:xfrm>
            <a:off x="626736" y="1443038"/>
            <a:ext cx="8204689" cy="2300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3" name="cdtContent Placeholder 12 Id13"/>
          <p:cNvSpPr>
            <a:spLocks noGrp="1"/>
          </p:cNvSpPr>
          <p:nvPr>
            <p:ph sz="quarter" idx="13"/>
            <p:custDataLst>
              <p:tags r:id="rId5"/>
            </p:custDataLst>
          </p:nvPr>
        </p:nvSpPr>
        <p:spPr>
          <a:xfrm>
            <a:off x="626736" y="3888000"/>
            <a:ext cx="8204689" cy="2304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custDataLst>
      <p:custData r:id="rId1"/>
      <p:tags r:id="rId2"/>
    </p:custDataLst>
    <p:extLst>
      <p:ext uri="{BB962C8B-B14F-4D97-AF65-F5344CB8AC3E}">
        <p14:creationId xmlns:p14="http://schemas.microsoft.com/office/powerpoint/2010/main" val="154922426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2192000" cy="1440000"/>
          </a:xfrm>
        </p:spPr>
        <p:txBody>
          <a:bodyPr/>
          <a:lstStyle/>
          <a:p>
            <a:r>
              <a:rPr lang="de-DE" noProof="0"/>
              <a:t>Mastertitelformat bearbeiten</a:t>
            </a:r>
            <a:endParaRPr lang="en-US" noProof="0"/>
          </a:p>
        </p:txBody>
      </p:sp>
      <p:sp>
        <p:nvSpPr>
          <p:cNvPr id="3" name="cdtContent Placeholder 2 Id3"/>
          <p:cNvSpPr>
            <a:spLocks noGrp="1"/>
          </p:cNvSpPr>
          <p:nvPr>
            <p:ph idx="1"/>
            <p:custDataLst>
              <p:tags r:id="rId4"/>
            </p:custDataLst>
          </p:nvPr>
        </p:nvSpPr>
        <p:spPr>
          <a:xfrm>
            <a:off x="626736" y="1443038"/>
            <a:ext cx="3598576"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3" name="cdtContent Placeholder 12 Id13"/>
          <p:cNvSpPr>
            <a:spLocks noGrp="1"/>
          </p:cNvSpPr>
          <p:nvPr>
            <p:ph sz="quarter" idx="13"/>
            <p:custDataLst>
              <p:tags r:id="rId5"/>
            </p:custDataLst>
          </p:nvPr>
        </p:nvSpPr>
        <p:spPr>
          <a:xfrm>
            <a:off x="4368113" y="1443038"/>
            <a:ext cx="3598126"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2" name="cdtContent Placeholder 11 Id12"/>
          <p:cNvSpPr>
            <a:spLocks noGrp="1"/>
          </p:cNvSpPr>
          <p:nvPr>
            <p:ph sz="quarter" idx="14"/>
            <p:custDataLst>
              <p:tags r:id="rId6"/>
            </p:custDataLst>
          </p:nvPr>
        </p:nvSpPr>
        <p:spPr>
          <a:xfrm>
            <a:off x="8111525" y="1443038"/>
            <a:ext cx="3598126"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custDataLst>
      <p:custData r:id="rId1"/>
      <p:tags r:id="rId2"/>
    </p:custDataLst>
    <p:extLst>
      <p:ext uri="{BB962C8B-B14F-4D97-AF65-F5344CB8AC3E}">
        <p14:creationId xmlns:p14="http://schemas.microsoft.com/office/powerpoint/2010/main" val="17829214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Four objects" preserve="1" userDrawn="1">
  <p:cSld name="Four objects">
    <p:spTree>
      <p:nvGrpSpPr>
        <p:cNvPr id="1" name=""/>
        <p:cNvGrpSpPr/>
        <p:nvPr/>
      </p:nvGrpSpPr>
      <p:grpSpPr>
        <a:xfrm>
          <a:off x="0" y="0"/>
          <a:ext cx="0" cy="0"/>
          <a:chOff x="0" y="0"/>
          <a:chExt cx="0" cy="0"/>
        </a:xfrm>
      </p:grpSpPr>
      <p:sp>
        <p:nvSpPr>
          <p:cNvPr id="3" name="cdtContent Placeholder 2 Id3"/>
          <p:cNvSpPr>
            <a:spLocks noGrp="1"/>
          </p:cNvSpPr>
          <p:nvPr>
            <p:ph sz="quarter" idx="1" hasCustomPrompt="1"/>
            <p:custDataLst>
              <p:tags r:id="rId3"/>
            </p:custDataLst>
          </p:nvPr>
        </p:nvSpPr>
        <p:spPr>
          <a:xfrm>
            <a:off x="626737" y="1443038"/>
            <a:ext cx="5469263" cy="2300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298"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2pPr>
            <a:lvl3pPr marL="358596"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3pPr>
            <a:lvl4pPr marL="537894"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4pPr>
            <a:lvl5pPr marL="719640" marR="0" indent="-179910" algn="l" defTabSz="913943" rtl="0" eaLnBrk="1" fontAlgn="base" latinLnBrk="0" hangingPunct="1">
              <a:lnSpc>
                <a:spcPct val="100000"/>
              </a:lnSpc>
              <a:spcBef>
                <a:spcPts val="300"/>
              </a:spcBef>
              <a:spcAft>
                <a:spcPct val="0"/>
              </a:spcAft>
              <a:buClr>
                <a:srgbClr val="879BAA"/>
              </a:buClr>
              <a:buSzTx/>
              <a:buFontTx/>
              <a:buChar char="•"/>
              <a:tabLst/>
              <a:defRPr lang="de-DE"/>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dtContent Placeholder 3 Id4"/>
          <p:cNvSpPr>
            <a:spLocks noGrp="1"/>
          </p:cNvSpPr>
          <p:nvPr>
            <p:ph sz="quarter" idx="2" hasCustomPrompt="1"/>
            <p:custDataLst>
              <p:tags r:id="rId4"/>
            </p:custDataLst>
          </p:nvPr>
        </p:nvSpPr>
        <p:spPr>
          <a:xfrm>
            <a:off x="6240388" y="1443038"/>
            <a:ext cx="5469263" cy="2300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298"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2pPr>
            <a:lvl3pPr marL="358596"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3pPr>
            <a:lvl4pPr marL="537894"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4pPr>
            <a:lvl5pPr marL="719640" marR="0" indent="-179910" algn="l" defTabSz="913943" rtl="0" eaLnBrk="1" fontAlgn="base" latinLnBrk="0" hangingPunct="1">
              <a:lnSpc>
                <a:spcPct val="100000"/>
              </a:lnSpc>
              <a:spcBef>
                <a:spcPts val="300"/>
              </a:spcBef>
              <a:spcAft>
                <a:spcPct val="0"/>
              </a:spcAft>
              <a:buClr>
                <a:srgbClr val="879BAA"/>
              </a:buClr>
              <a:buSzTx/>
              <a:buFontTx/>
              <a:buChar char="•"/>
              <a:tabLst/>
              <a:defRPr lang="de-DE"/>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cdtContent Placeholder 4 Id5"/>
          <p:cNvSpPr>
            <a:spLocks noGrp="1"/>
          </p:cNvSpPr>
          <p:nvPr>
            <p:ph sz="quarter" idx="3" hasCustomPrompt="1"/>
            <p:custDataLst>
              <p:tags r:id="rId5"/>
            </p:custDataLst>
          </p:nvPr>
        </p:nvSpPr>
        <p:spPr>
          <a:xfrm>
            <a:off x="626737" y="3888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298"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2pPr>
            <a:lvl3pPr marL="358596"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3pPr>
            <a:lvl4pPr marL="537894"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4pPr>
            <a:lvl5pPr marL="719640" marR="0" indent="-179910" algn="l" defTabSz="913943" rtl="0" eaLnBrk="1" fontAlgn="base" latinLnBrk="0" hangingPunct="1">
              <a:lnSpc>
                <a:spcPct val="100000"/>
              </a:lnSpc>
              <a:spcBef>
                <a:spcPts val="300"/>
              </a:spcBef>
              <a:spcAft>
                <a:spcPct val="0"/>
              </a:spcAft>
              <a:buClr>
                <a:srgbClr val="879BAA"/>
              </a:buClr>
              <a:buSzTx/>
              <a:buFontTx/>
              <a:buChar char="•"/>
              <a:tabLst/>
              <a:defRPr lang="de-DE"/>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cdtContent Placeholder 5 Id6"/>
          <p:cNvSpPr>
            <a:spLocks noGrp="1"/>
          </p:cNvSpPr>
          <p:nvPr>
            <p:ph sz="quarter" idx="4" hasCustomPrompt="1"/>
            <p:custDataLst>
              <p:tags r:id="rId6"/>
            </p:custDataLst>
          </p:nvPr>
        </p:nvSpPr>
        <p:spPr>
          <a:xfrm>
            <a:off x="6240388" y="3888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298"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2pPr>
            <a:lvl3pPr marL="358596"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3pPr>
            <a:lvl4pPr marL="537894" marR="0" indent="-179910" algn="l" defTabSz="913943" rtl="0" eaLnBrk="1" fontAlgn="base" latinLnBrk="0" hangingPunct="1">
              <a:lnSpc>
                <a:spcPct val="100000"/>
              </a:lnSpc>
              <a:spcBef>
                <a:spcPts val="300"/>
              </a:spcBef>
              <a:spcAft>
                <a:spcPct val="0"/>
              </a:spcAft>
              <a:buClr>
                <a:srgbClr val="879BAA"/>
              </a:buClr>
              <a:buSzTx/>
              <a:buFontTx/>
              <a:buChar char="•"/>
              <a:tabLst/>
              <a:defRPr lang="de-DE" smtClean="0"/>
            </a:lvl4pPr>
            <a:lvl5pPr marL="719640" marR="0" indent="-179910" algn="l" defTabSz="913943" rtl="0" eaLnBrk="1" fontAlgn="base" latinLnBrk="0" hangingPunct="1">
              <a:lnSpc>
                <a:spcPct val="100000"/>
              </a:lnSpc>
              <a:spcBef>
                <a:spcPts val="300"/>
              </a:spcBef>
              <a:spcAft>
                <a:spcPct val="0"/>
              </a:spcAft>
              <a:buClr>
                <a:srgbClr val="879BAA"/>
              </a:buClr>
              <a:buSzTx/>
              <a:buFontTx/>
              <a:buChar char="•"/>
              <a:tabLst/>
              <a:defRPr lang="de-DE"/>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itel 6"/>
          <p:cNvSpPr>
            <a:spLocks noGrp="1"/>
          </p:cNvSpPr>
          <p:nvPr>
            <p:ph type="title" hasCustomPrompt="1"/>
          </p:nvPr>
        </p:nvSpPr>
        <p:spPr/>
        <p:txBody>
          <a:bodyPr/>
          <a:lstStyle/>
          <a:p>
            <a:r>
              <a:rPr lang="en-US"/>
              <a:t>Click to edit Master title style</a:t>
            </a:r>
            <a:endParaRPr lang="de-DE"/>
          </a:p>
        </p:txBody>
      </p:sp>
    </p:spTree>
    <p:custDataLst>
      <p:custData r:id="rId1"/>
      <p:tags r:id="rId2"/>
    </p:custDataLst>
    <p:extLst>
      <p:ext uri="{BB962C8B-B14F-4D97-AF65-F5344CB8AC3E}">
        <p14:creationId xmlns:p14="http://schemas.microsoft.com/office/powerpoint/2010/main" val="413701462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2192000" cy="1440000"/>
          </a:xfrm>
        </p:spPr>
        <p:txBody>
          <a:bodyPr/>
          <a:lstStyle/>
          <a:p>
            <a:r>
              <a:rPr lang="de-DE" noProof="0"/>
              <a:t>Mastertitelformat bearbeiten</a:t>
            </a:r>
            <a:endParaRPr lang="en-US" noProof="0"/>
          </a:p>
        </p:txBody>
      </p:sp>
      <p:sp>
        <p:nvSpPr>
          <p:cNvPr id="5" name="cdtTextplatzhalter 13 Id5"/>
          <p:cNvSpPr>
            <a:spLocks noGrp="1"/>
          </p:cNvSpPr>
          <p:nvPr>
            <p:ph type="body" sz="quarter" idx="13" hasCustomPrompt="1"/>
            <p:custDataLst>
              <p:tags r:id="rId4"/>
            </p:custDataLst>
          </p:nvPr>
        </p:nvSpPr>
        <p:spPr>
          <a:xfrm>
            <a:off x="10414328" y="1443038"/>
            <a:ext cx="1295324" cy="4748962"/>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a:t>Click to edit the navigation text</a:t>
            </a:r>
          </a:p>
          <a:p>
            <a:pPr lvl="1"/>
            <a:r>
              <a:rPr lang="en-US" noProof="0"/>
              <a:t>active chapter</a:t>
            </a:r>
          </a:p>
          <a:p>
            <a:pPr lvl="2"/>
            <a:r>
              <a:rPr lang="en-US" noProof="0"/>
              <a:t>subchapter</a:t>
            </a:r>
          </a:p>
          <a:p>
            <a:pPr lvl="3"/>
            <a:r>
              <a:rPr lang="en-US" noProof="0"/>
              <a:t>active subchapter</a:t>
            </a:r>
          </a:p>
          <a:p>
            <a:pPr lvl="4"/>
            <a:r>
              <a:rPr lang="en-US" noProof="0"/>
              <a:t>subchapter</a:t>
            </a:r>
          </a:p>
          <a:p>
            <a:pPr lvl="5"/>
            <a:r>
              <a:rPr lang="en-US" noProof="0"/>
              <a:t>active subchapter</a:t>
            </a:r>
          </a:p>
        </p:txBody>
      </p:sp>
    </p:spTree>
    <p:custDataLst>
      <p:custData r:id="rId1"/>
      <p:tags r:id="rId2"/>
    </p:custDataLst>
    <p:extLst>
      <p:ext uri="{BB962C8B-B14F-4D97-AF65-F5344CB8AC3E}">
        <p14:creationId xmlns:p14="http://schemas.microsoft.com/office/powerpoint/2010/main" val="372163676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de-DE" noProof="0"/>
              <a:t>Mastertitelformat bearbeiten</a:t>
            </a:r>
            <a:endParaRPr lang="en-US" noProof="0"/>
          </a:p>
        </p:txBody>
      </p:sp>
      <p:sp>
        <p:nvSpPr>
          <p:cNvPr id="3" name="cdtContent Placeholder 2 Id3"/>
          <p:cNvSpPr>
            <a:spLocks noGrp="1"/>
          </p:cNvSpPr>
          <p:nvPr>
            <p:ph idx="1"/>
            <p:custDataLst>
              <p:tags r:id="rId3"/>
            </p:custDataLst>
          </p:nvPr>
        </p:nvSpPr>
        <p:spPr>
          <a:xfrm>
            <a:off x="626736" y="1443038"/>
            <a:ext cx="8204689"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5" name="cdtTextplatzhalter 13 Id5"/>
          <p:cNvSpPr>
            <a:spLocks noGrp="1"/>
          </p:cNvSpPr>
          <p:nvPr>
            <p:ph type="body" sz="quarter" idx="13" hasCustomPrompt="1"/>
            <p:custDataLst>
              <p:tags r:id="rId4"/>
            </p:custDataLst>
          </p:nvPr>
        </p:nvSpPr>
        <p:spPr>
          <a:xfrm>
            <a:off x="10414328" y="1443038"/>
            <a:ext cx="1295324" cy="4748962"/>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a:t>Click to edit the navigation text</a:t>
            </a:r>
          </a:p>
          <a:p>
            <a:pPr lvl="1"/>
            <a:r>
              <a:rPr lang="en-US" noProof="0"/>
              <a:t>active chapter</a:t>
            </a:r>
          </a:p>
          <a:p>
            <a:pPr lvl="2"/>
            <a:r>
              <a:rPr lang="en-US" noProof="0"/>
              <a:t>subchapter</a:t>
            </a:r>
          </a:p>
          <a:p>
            <a:pPr lvl="3"/>
            <a:r>
              <a:rPr lang="en-US" noProof="0"/>
              <a:t>active subchapter</a:t>
            </a:r>
          </a:p>
          <a:p>
            <a:pPr lvl="4"/>
            <a:r>
              <a:rPr lang="en-US" noProof="0"/>
              <a:t>subchapter</a:t>
            </a:r>
          </a:p>
          <a:p>
            <a:pPr lvl="5"/>
            <a:r>
              <a:rPr lang="en-US" noProof="0"/>
              <a:t>active subchapter</a:t>
            </a:r>
          </a:p>
        </p:txBody>
      </p:sp>
    </p:spTree>
    <p:custDataLst>
      <p:custData r:id="rId1"/>
    </p:custDataLst>
    <p:extLst>
      <p:ext uri="{BB962C8B-B14F-4D97-AF65-F5344CB8AC3E}">
        <p14:creationId xmlns:p14="http://schemas.microsoft.com/office/powerpoint/2010/main" val="535037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icture dark 40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a:t>Click to edit </a:t>
            </a:r>
            <a:br>
              <a:rPr lang="en-US"/>
            </a:br>
            <a:r>
              <a:rPr lang="en-US"/>
              <a:t>Master title style 4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40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2124595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de-DE" noProof="0"/>
              <a:t>Mastertitelformat bearbeiten</a:t>
            </a:r>
            <a:endParaRPr lang="en-US" noProof="0"/>
          </a:p>
        </p:txBody>
      </p:sp>
      <p:sp>
        <p:nvSpPr>
          <p:cNvPr id="3" name="cdtContent Placeholder 2 Id3"/>
          <p:cNvSpPr>
            <a:spLocks noGrp="1"/>
          </p:cNvSpPr>
          <p:nvPr>
            <p:ph idx="1"/>
            <p:custDataLst>
              <p:tags r:id="rId3"/>
            </p:custDataLst>
          </p:nvPr>
        </p:nvSpPr>
        <p:spPr>
          <a:xfrm>
            <a:off x="626736" y="1443038"/>
            <a:ext cx="6764477"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6" name="cdtTextplatzhalter 13 Id6"/>
          <p:cNvSpPr>
            <a:spLocks noGrp="1"/>
          </p:cNvSpPr>
          <p:nvPr>
            <p:ph type="body" sz="quarter" idx="13" hasCustomPrompt="1"/>
            <p:custDataLst>
              <p:tags r:id="rId4"/>
            </p:custDataLst>
          </p:nvPr>
        </p:nvSpPr>
        <p:spPr>
          <a:xfrm>
            <a:off x="10414328" y="1443038"/>
            <a:ext cx="1295324" cy="4748962"/>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a:t>Click to edit the navigation text</a:t>
            </a:r>
          </a:p>
          <a:p>
            <a:pPr lvl="1"/>
            <a:r>
              <a:rPr lang="en-US" noProof="0"/>
              <a:t>active chapter</a:t>
            </a:r>
          </a:p>
          <a:p>
            <a:pPr lvl="2"/>
            <a:r>
              <a:rPr lang="en-US" noProof="0"/>
              <a:t>subchapter</a:t>
            </a:r>
          </a:p>
          <a:p>
            <a:pPr lvl="3"/>
            <a:r>
              <a:rPr lang="en-US" noProof="0"/>
              <a:t>active subchapter</a:t>
            </a:r>
          </a:p>
          <a:p>
            <a:pPr lvl="4"/>
            <a:r>
              <a:rPr lang="en-US" noProof="0"/>
              <a:t>subchapter</a:t>
            </a:r>
          </a:p>
          <a:p>
            <a:pPr lvl="5"/>
            <a:r>
              <a:rPr lang="en-US" noProof="0"/>
              <a:t>active subchapter</a:t>
            </a:r>
          </a:p>
        </p:txBody>
      </p:sp>
    </p:spTree>
    <p:custDataLst>
      <p:custData r:id="rId1"/>
    </p:custDataLst>
    <p:extLst>
      <p:ext uri="{BB962C8B-B14F-4D97-AF65-F5344CB8AC3E}">
        <p14:creationId xmlns:p14="http://schemas.microsoft.com/office/powerpoint/2010/main" val="392129573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de-DE" noProof="0"/>
              <a:t>Mastertitelformat bearbeiten</a:t>
            </a:r>
            <a:endParaRPr lang="en-US" noProof="0"/>
          </a:p>
        </p:txBody>
      </p:sp>
      <p:sp>
        <p:nvSpPr>
          <p:cNvPr id="3" name="cdtContent Placeholder 2 Id3"/>
          <p:cNvSpPr>
            <a:spLocks noGrp="1"/>
          </p:cNvSpPr>
          <p:nvPr>
            <p:ph idx="1"/>
            <p:custDataLst>
              <p:tags r:id="rId3"/>
            </p:custDataLst>
          </p:nvPr>
        </p:nvSpPr>
        <p:spPr>
          <a:xfrm>
            <a:off x="626737" y="1443038"/>
            <a:ext cx="4029901"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3" name="cdtContent Placeholder 12 Id13"/>
          <p:cNvSpPr>
            <a:spLocks noGrp="1"/>
          </p:cNvSpPr>
          <p:nvPr>
            <p:ph sz="quarter" idx="13"/>
            <p:custDataLst>
              <p:tags r:id="rId4"/>
            </p:custDataLst>
          </p:nvPr>
        </p:nvSpPr>
        <p:spPr>
          <a:xfrm>
            <a:off x="4801524" y="1443038"/>
            <a:ext cx="4029901"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6" name="cdtTextplatzhalter 13 Id6"/>
          <p:cNvSpPr>
            <a:spLocks noGrp="1"/>
          </p:cNvSpPr>
          <p:nvPr>
            <p:ph type="body" sz="quarter" idx="14" hasCustomPrompt="1"/>
            <p:custDataLst>
              <p:tags r:id="rId5"/>
            </p:custDataLst>
          </p:nvPr>
        </p:nvSpPr>
        <p:spPr>
          <a:xfrm>
            <a:off x="10414328" y="1443038"/>
            <a:ext cx="1295324" cy="4748962"/>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a:t>Click to edit the navigation text</a:t>
            </a:r>
          </a:p>
          <a:p>
            <a:pPr lvl="1"/>
            <a:r>
              <a:rPr lang="en-US" noProof="0"/>
              <a:t>active chapter</a:t>
            </a:r>
          </a:p>
          <a:p>
            <a:pPr lvl="2"/>
            <a:r>
              <a:rPr lang="en-US" noProof="0"/>
              <a:t>subchapter</a:t>
            </a:r>
          </a:p>
          <a:p>
            <a:pPr lvl="3"/>
            <a:r>
              <a:rPr lang="en-US" noProof="0"/>
              <a:t>active subchapter</a:t>
            </a:r>
          </a:p>
          <a:p>
            <a:pPr lvl="4"/>
            <a:r>
              <a:rPr lang="en-US" noProof="0"/>
              <a:t>subchapter</a:t>
            </a:r>
          </a:p>
          <a:p>
            <a:pPr lvl="5"/>
            <a:r>
              <a:rPr lang="en-US" noProof="0"/>
              <a:t>active subchapter</a:t>
            </a:r>
          </a:p>
        </p:txBody>
      </p:sp>
    </p:spTree>
    <p:custDataLst>
      <p:custData r:id="rId1"/>
    </p:custDataLst>
    <p:extLst>
      <p:ext uri="{BB962C8B-B14F-4D97-AF65-F5344CB8AC3E}">
        <p14:creationId xmlns:p14="http://schemas.microsoft.com/office/powerpoint/2010/main" val="3706537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de-DE" noProof="0"/>
              <a:t>Mastertitelformat bearbeiten</a:t>
            </a:r>
            <a:endParaRPr lang="en-US" noProof="0"/>
          </a:p>
        </p:txBody>
      </p:sp>
      <p:sp>
        <p:nvSpPr>
          <p:cNvPr id="3" name="cdtContent Placeholder 2 Id3"/>
          <p:cNvSpPr>
            <a:spLocks noGrp="1"/>
          </p:cNvSpPr>
          <p:nvPr>
            <p:ph idx="1"/>
            <p:custDataLst>
              <p:tags r:id="rId3"/>
            </p:custDataLst>
          </p:nvPr>
        </p:nvSpPr>
        <p:spPr>
          <a:xfrm>
            <a:off x="626736" y="1443038"/>
            <a:ext cx="2590651"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3" name="cdtContent Placeholder 12 Id13"/>
          <p:cNvSpPr>
            <a:spLocks noGrp="1"/>
          </p:cNvSpPr>
          <p:nvPr>
            <p:ph sz="quarter" idx="13"/>
            <p:custDataLst>
              <p:tags r:id="rId4"/>
            </p:custDataLst>
          </p:nvPr>
        </p:nvSpPr>
        <p:spPr>
          <a:xfrm>
            <a:off x="3360650" y="1443038"/>
            <a:ext cx="2735350"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2" name="cdtContent Placeholder 11 Id12"/>
          <p:cNvSpPr>
            <a:spLocks noGrp="1"/>
          </p:cNvSpPr>
          <p:nvPr>
            <p:ph sz="quarter" idx="14"/>
            <p:custDataLst>
              <p:tags r:id="rId5"/>
            </p:custDataLst>
          </p:nvPr>
        </p:nvSpPr>
        <p:spPr>
          <a:xfrm>
            <a:off x="6240388" y="1443038"/>
            <a:ext cx="2591038"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7" name="cdtTextplatzhalter 13 Id7"/>
          <p:cNvSpPr>
            <a:spLocks noGrp="1"/>
          </p:cNvSpPr>
          <p:nvPr>
            <p:ph type="body" sz="quarter" idx="15" hasCustomPrompt="1"/>
            <p:custDataLst>
              <p:tags r:id="rId6"/>
            </p:custDataLst>
          </p:nvPr>
        </p:nvSpPr>
        <p:spPr>
          <a:xfrm>
            <a:off x="10414328" y="1443038"/>
            <a:ext cx="1295324" cy="4748962"/>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a:t>Click to edit the navigation text</a:t>
            </a:r>
          </a:p>
          <a:p>
            <a:pPr lvl="1"/>
            <a:r>
              <a:rPr lang="en-US" noProof="0"/>
              <a:t>active chapter</a:t>
            </a:r>
          </a:p>
          <a:p>
            <a:pPr lvl="2"/>
            <a:r>
              <a:rPr lang="en-US" noProof="0"/>
              <a:t>subchapter</a:t>
            </a:r>
          </a:p>
          <a:p>
            <a:pPr lvl="3"/>
            <a:r>
              <a:rPr lang="en-US" noProof="0"/>
              <a:t>active subchapter</a:t>
            </a:r>
          </a:p>
          <a:p>
            <a:pPr lvl="4"/>
            <a:r>
              <a:rPr lang="en-US" noProof="0"/>
              <a:t>subchapter</a:t>
            </a:r>
          </a:p>
          <a:p>
            <a:pPr lvl="5"/>
            <a:r>
              <a:rPr lang="en-US" noProof="0"/>
              <a:t>active subchapter</a:t>
            </a:r>
          </a:p>
        </p:txBody>
      </p:sp>
    </p:spTree>
    <p:custDataLst>
      <p:custData r:id="rId1"/>
    </p:custDataLst>
    <p:extLst>
      <p:ext uri="{BB962C8B-B14F-4D97-AF65-F5344CB8AC3E}">
        <p14:creationId xmlns:p14="http://schemas.microsoft.com/office/powerpoint/2010/main" val="41069168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de-DE" noProof="0"/>
              <a:t>Mastertitelformat bearbeiten</a:t>
            </a:r>
            <a:endParaRPr lang="en-US" noProof="0"/>
          </a:p>
        </p:txBody>
      </p:sp>
      <p:sp>
        <p:nvSpPr>
          <p:cNvPr id="3" name="cdtContent Placeholder 2 Id3"/>
          <p:cNvSpPr>
            <a:spLocks noGrp="1"/>
          </p:cNvSpPr>
          <p:nvPr>
            <p:ph idx="1"/>
            <p:custDataLst>
              <p:tags r:id="rId3"/>
            </p:custDataLst>
          </p:nvPr>
        </p:nvSpPr>
        <p:spPr>
          <a:xfrm>
            <a:off x="626736" y="1443038"/>
            <a:ext cx="8204689" cy="2300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3" name="cdtContent Placeholder 12 Id13"/>
          <p:cNvSpPr>
            <a:spLocks noGrp="1"/>
          </p:cNvSpPr>
          <p:nvPr>
            <p:ph sz="quarter" idx="13"/>
            <p:custDataLst>
              <p:tags r:id="rId4"/>
            </p:custDataLst>
          </p:nvPr>
        </p:nvSpPr>
        <p:spPr>
          <a:xfrm>
            <a:off x="626736" y="3888000"/>
            <a:ext cx="8204689" cy="2304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6" name="cdtTextplatzhalter 13 Id6"/>
          <p:cNvSpPr>
            <a:spLocks noGrp="1"/>
          </p:cNvSpPr>
          <p:nvPr>
            <p:ph type="body" sz="quarter" idx="14" hasCustomPrompt="1"/>
            <p:custDataLst>
              <p:tags r:id="rId5"/>
            </p:custDataLst>
          </p:nvPr>
        </p:nvSpPr>
        <p:spPr>
          <a:xfrm>
            <a:off x="10414328" y="1443038"/>
            <a:ext cx="1295324" cy="4748962"/>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a:t>Click to edit the navigation text</a:t>
            </a:r>
          </a:p>
          <a:p>
            <a:pPr lvl="1"/>
            <a:r>
              <a:rPr lang="en-US" noProof="0"/>
              <a:t>active chapter</a:t>
            </a:r>
          </a:p>
          <a:p>
            <a:pPr lvl="2"/>
            <a:r>
              <a:rPr lang="en-US" noProof="0"/>
              <a:t>subchapter</a:t>
            </a:r>
          </a:p>
          <a:p>
            <a:pPr lvl="3"/>
            <a:r>
              <a:rPr lang="en-US" noProof="0"/>
              <a:t>active subchapter</a:t>
            </a:r>
          </a:p>
          <a:p>
            <a:pPr lvl="4"/>
            <a:r>
              <a:rPr lang="en-US" noProof="0"/>
              <a:t>subchapter</a:t>
            </a:r>
          </a:p>
          <a:p>
            <a:pPr lvl="5"/>
            <a:r>
              <a:rPr lang="en-US" noProof="0"/>
              <a:t>active subchapter</a:t>
            </a:r>
          </a:p>
        </p:txBody>
      </p:sp>
    </p:spTree>
    <p:custDataLst>
      <p:custData r:id="rId1"/>
    </p:custDataLst>
    <p:extLst>
      <p:ext uri="{BB962C8B-B14F-4D97-AF65-F5344CB8AC3E}">
        <p14:creationId xmlns:p14="http://schemas.microsoft.com/office/powerpoint/2010/main" val="232492301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de-DE" noProof="0"/>
              <a:t>Mastertitelformat bearbeiten</a:t>
            </a:r>
            <a:endParaRPr lang="en-US" noProof="0"/>
          </a:p>
        </p:txBody>
      </p:sp>
      <p:sp>
        <p:nvSpPr>
          <p:cNvPr id="3" name="cdtContent Placeholder 2 Id3"/>
          <p:cNvSpPr>
            <a:spLocks noGrp="1"/>
          </p:cNvSpPr>
          <p:nvPr>
            <p:ph idx="1"/>
            <p:custDataLst>
              <p:tags r:id="rId3"/>
            </p:custDataLst>
          </p:nvPr>
        </p:nvSpPr>
        <p:spPr>
          <a:xfrm>
            <a:off x="626737" y="1443038"/>
            <a:ext cx="4029901" cy="2300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3" name="cdtContent Placeholder 12 Id13"/>
          <p:cNvSpPr>
            <a:spLocks noGrp="1"/>
          </p:cNvSpPr>
          <p:nvPr>
            <p:ph sz="quarter" idx="13"/>
            <p:custDataLst>
              <p:tags r:id="rId4"/>
            </p:custDataLst>
          </p:nvPr>
        </p:nvSpPr>
        <p:spPr>
          <a:xfrm>
            <a:off x="4801523" y="1443038"/>
            <a:ext cx="4029901" cy="2300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2" name="cdtContent Placeholder 11 Id12"/>
          <p:cNvSpPr>
            <a:spLocks noGrp="1"/>
          </p:cNvSpPr>
          <p:nvPr>
            <p:ph sz="quarter" idx="14"/>
            <p:custDataLst>
              <p:tags r:id="rId5"/>
            </p:custDataLst>
          </p:nvPr>
        </p:nvSpPr>
        <p:spPr>
          <a:xfrm>
            <a:off x="626737" y="3888000"/>
            <a:ext cx="4029901" cy="2304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5" name="cdtContent Placeholder 14 Id15"/>
          <p:cNvSpPr>
            <a:spLocks noGrp="1"/>
          </p:cNvSpPr>
          <p:nvPr>
            <p:ph sz="quarter" idx="15"/>
            <p:custDataLst>
              <p:tags r:id="rId6"/>
            </p:custDataLst>
          </p:nvPr>
        </p:nvSpPr>
        <p:spPr>
          <a:xfrm>
            <a:off x="4801524" y="3888000"/>
            <a:ext cx="4029901" cy="2304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0" name="cdtTextplatzhalter 13 Id10"/>
          <p:cNvSpPr>
            <a:spLocks noGrp="1"/>
          </p:cNvSpPr>
          <p:nvPr>
            <p:ph type="body" sz="quarter" idx="16" hasCustomPrompt="1"/>
            <p:custDataLst>
              <p:tags r:id="rId7"/>
            </p:custDataLst>
          </p:nvPr>
        </p:nvSpPr>
        <p:spPr>
          <a:xfrm>
            <a:off x="10414328" y="1443038"/>
            <a:ext cx="1295324" cy="4748962"/>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a:t>Click to edit the navigation text</a:t>
            </a:r>
          </a:p>
          <a:p>
            <a:pPr lvl="1"/>
            <a:r>
              <a:rPr lang="en-US" noProof="0"/>
              <a:t>active chapter</a:t>
            </a:r>
          </a:p>
          <a:p>
            <a:pPr lvl="2"/>
            <a:r>
              <a:rPr lang="en-US" noProof="0"/>
              <a:t>subchapter</a:t>
            </a:r>
          </a:p>
          <a:p>
            <a:pPr lvl="3"/>
            <a:r>
              <a:rPr lang="en-US" noProof="0"/>
              <a:t>active subchapter</a:t>
            </a:r>
          </a:p>
          <a:p>
            <a:pPr lvl="4"/>
            <a:r>
              <a:rPr lang="en-US" noProof="0"/>
              <a:t>subchapter</a:t>
            </a:r>
          </a:p>
          <a:p>
            <a:pPr lvl="5"/>
            <a:r>
              <a:rPr lang="en-US" noProof="0"/>
              <a:t>active subchapter</a:t>
            </a:r>
          </a:p>
        </p:txBody>
      </p:sp>
    </p:spTree>
    <p:custDataLst>
      <p:custData r:id="rId1"/>
    </p:custDataLst>
    <p:extLst>
      <p:ext uri="{BB962C8B-B14F-4D97-AF65-F5344CB8AC3E}">
        <p14:creationId xmlns:p14="http://schemas.microsoft.com/office/powerpoint/2010/main" val="429042517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en-US" noProof="0"/>
          </a:p>
        </p:txBody>
      </p:sp>
      <p:sp>
        <p:nvSpPr>
          <p:cNvPr id="4" name="cdtText Placeholder 12 Id13"/>
          <p:cNvSpPr>
            <a:spLocks noGrp="1"/>
          </p:cNvSpPr>
          <p:nvPr>
            <p:ph type="body" sz="quarter" idx="14" hasCustomPrompt="1"/>
            <p:custDataLst>
              <p:tags r:id="rId2"/>
            </p:custDataLst>
          </p:nvPr>
        </p:nvSpPr>
        <p:spPr bwMode="auto">
          <a:xfrm>
            <a:off x="4656571" y="1440000"/>
            <a:ext cx="7535429" cy="4752000"/>
          </a:xfrm>
          <a:solidFill>
            <a:srgbClr val="DFE6E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9910" indent="-179910">
              <a:lnSpc>
                <a:spcPct val="100000"/>
              </a:lnSpc>
              <a:spcBef>
                <a:spcPts val="500"/>
              </a:spcBef>
              <a:spcAft>
                <a:spcPts val="500"/>
              </a:spcAft>
              <a:buFont typeface="Arial" pitchFamily="34" charset="0"/>
              <a:buChar char="•"/>
              <a:tabLst>
                <a:tab pos="5356720" algn="r"/>
              </a:tabLst>
              <a:defRPr b="0">
                <a:solidFill>
                  <a:srgbClr val="000000"/>
                </a:solidFill>
              </a:defRPr>
            </a:lvl2pPr>
            <a:lvl3pPr marL="179910" indent="-179910">
              <a:lnSpc>
                <a:spcPct val="100000"/>
              </a:lnSpc>
              <a:spcBef>
                <a:spcPts val="500"/>
              </a:spcBef>
              <a:spcAft>
                <a:spcPts val="500"/>
              </a:spcAft>
              <a:buFont typeface="Arial" pitchFamily="34" charset="0"/>
              <a:buChar char="•"/>
              <a:tabLst>
                <a:tab pos="5356720" algn="r"/>
              </a:tabLst>
              <a:defRPr b="1">
                <a:solidFill>
                  <a:srgbClr val="000000"/>
                </a:solidFill>
              </a:defRPr>
            </a:lvl3pPr>
            <a:lvl4pPr marL="359820" indent="-179910">
              <a:lnSpc>
                <a:spcPct val="100000"/>
              </a:lnSpc>
              <a:spcBef>
                <a:spcPts val="500"/>
              </a:spcBef>
              <a:spcAft>
                <a:spcPts val="500"/>
              </a:spcAft>
              <a:buFont typeface="Arial" pitchFamily="34" charset="0"/>
              <a:buChar char="•"/>
              <a:tabLst>
                <a:tab pos="5356720" algn="r"/>
              </a:tabLst>
              <a:defRPr b="0">
                <a:solidFill>
                  <a:srgbClr val="000000"/>
                </a:solidFill>
              </a:defRPr>
            </a:lvl4pPr>
            <a:lvl5pPr marL="359820" indent="-179910">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noProof="0"/>
              <a:t>Click to edit the toc/contact</a:t>
            </a:r>
          </a:p>
          <a:p>
            <a:pPr lvl="1"/>
            <a:r>
              <a:rPr lang="en-US" noProof="0"/>
              <a:t>chapter</a:t>
            </a:r>
          </a:p>
          <a:p>
            <a:pPr lvl="2"/>
            <a:r>
              <a:rPr lang="en-US" noProof="0"/>
              <a:t>active chapter</a:t>
            </a:r>
          </a:p>
          <a:p>
            <a:pPr lvl="3"/>
            <a:r>
              <a:rPr lang="en-US" noProof="0"/>
              <a:t>subchapter</a:t>
            </a:r>
          </a:p>
          <a:p>
            <a:pPr lvl="4"/>
            <a:r>
              <a:rPr lang="en-US" noProof="0"/>
              <a:t>active subchapter</a:t>
            </a:r>
          </a:p>
        </p:txBody>
      </p:sp>
      <p:sp>
        <p:nvSpPr>
          <p:cNvPr id="8" name="Bildplatzhalter 7"/>
          <p:cNvSpPr>
            <a:spLocks noGrp="1"/>
          </p:cNvSpPr>
          <p:nvPr>
            <p:ph type="pic" sz="quarter" idx="15"/>
          </p:nvPr>
        </p:nvSpPr>
        <p:spPr>
          <a:xfrm>
            <a:off x="0" y="1440000"/>
            <a:ext cx="4512050" cy="4752000"/>
          </a:xfrm>
        </p:spPr>
        <p:txBody>
          <a:bodyPr tIns="1800000"/>
          <a:lstStyle>
            <a:lvl1pPr algn="ctr">
              <a:defRPr/>
            </a:lvl1pPr>
          </a:lstStyle>
          <a:p>
            <a:r>
              <a:rPr lang="de-DE" noProof="0"/>
              <a:t>Bild durch Klicken auf Symbol hinzufügen</a:t>
            </a:r>
            <a:endParaRPr lang="en-US" noProof="0"/>
          </a:p>
        </p:txBody>
      </p:sp>
    </p:spTree>
    <p:custDataLst>
      <p:tags r:id="rId1"/>
    </p:custDataLst>
    <p:extLst>
      <p:ext uri="{BB962C8B-B14F-4D97-AF65-F5344CB8AC3E}">
        <p14:creationId xmlns:p14="http://schemas.microsoft.com/office/powerpoint/2010/main" val="277375159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picture Gradient Blue 48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a:t>Click to edit </a:t>
            </a:r>
            <a:br>
              <a:rPr lang="en-US"/>
            </a:br>
            <a:r>
              <a:rPr lang="en-US"/>
              <a:t>Master title style 48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a:t>Subhead for headline size 48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162" y="6310800"/>
            <a:ext cx="9288000" cy="547200"/>
          </a:xfrm>
        </p:spPr>
        <p:txBody>
          <a:bodyPr/>
          <a:lstStyle/>
          <a:p>
            <a:pPr>
              <a:lnSpc>
                <a:spcPct val="100000"/>
              </a:lnSpc>
            </a:pPr>
            <a:r>
              <a:rPr lang="en-US"/>
              <a:t>Restricted | © Siemens 2021 | Vertical XY | DI CS | December 2021</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bwMode="black">
          <a:xfrm>
            <a:off x="10274400" y="6364800"/>
            <a:ext cx="1512000" cy="240408"/>
          </a:xfrm>
          <a:prstGeom prst="rect">
            <a:avLst/>
          </a:prstGeom>
        </p:spPr>
      </p:pic>
    </p:spTree>
    <p:extLst>
      <p:ext uri="{BB962C8B-B14F-4D97-AF65-F5344CB8AC3E}">
        <p14:creationId xmlns:p14="http://schemas.microsoft.com/office/powerpoint/2010/main" val="6193618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p>
            <a:r>
              <a:rPr lang="en-US"/>
              <a:t>Click to edit Master title style</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Restricted | © Siemens 2021 | Sitrain Vertical Strategy | L. Uebler | December 2021</a:t>
            </a:r>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Tree>
    <p:extLst>
      <p:ext uri="{BB962C8B-B14F-4D97-AF65-F5344CB8AC3E}">
        <p14:creationId xmlns:p14="http://schemas.microsoft.com/office/powerpoint/2010/main" val="2338423960"/>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ull bleed color Deep Blue">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p>
            <a:pPr>
              <a:lnSpc>
                <a:spcPct val="100000"/>
              </a:lnSpc>
            </a:pPr>
            <a:r>
              <a:rPr lang="en-US"/>
              <a:t>Restricted | © Siemens 2021 | Sitrain Vertical Strategy | L. Uebler | December 2021</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Tree>
    <p:extLst>
      <p:ext uri="{BB962C8B-B14F-4D97-AF65-F5344CB8AC3E}">
        <p14:creationId xmlns:p14="http://schemas.microsoft.com/office/powerpoint/2010/main" val="237878539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bwMode="black">
          <a:xfrm>
            <a:off x="411162" y="1414800"/>
            <a:ext cx="5470526"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bwMode="black">
          <a:xfrm>
            <a:off x="6315075" y="1414800"/>
            <a:ext cx="5465763" cy="4752000"/>
          </a:xfrm>
          <a:prstGeom prst="rect">
            <a:avLst/>
          </a:prstGeo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ooter Placeholder">
            <a:extLst>
              <a:ext uri="{FF2B5EF4-FFF2-40B4-BE49-F238E27FC236}">
                <a16:creationId xmlns:a16="http://schemas.microsoft.com/office/drawing/2014/main" id="{33A503D1-D234-4258-9A03-D858B10BA46D}"/>
              </a:ext>
            </a:extLst>
          </p:cNvPr>
          <p:cNvSpPr>
            <a:spLocks noGrp="1"/>
          </p:cNvSpPr>
          <p:nvPr>
            <p:ph type="ftr" sz="quarter" idx="10"/>
          </p:nvPr>
        </p:nvSpPr>
        <p:spPr bwMode="black"/>
        <p:txBody>
          <a:bodyPr/>
          <a:lstStyle/>
          <a:p>
            <a:pPr>
              <a:lnSpc>
                <a:spcPct val="100000"/>
              </a:lnSpc>
            </a:pPr>
            <a:r>
              <a:rPr lang="en-US"/>
              <a:t>Restricted | © Siemens 2021 | Vertical XY | DI CS | December 2021</a:t>
            </a:r>
          </a:p>
        </p:txBody>
      </p:sp>
      <p:sp>
        <p:nvSpPr>
          <p:cNvPr id="7" name="Slide Number Placeholder">
            <a:extLst>
              <a:ext uri="{FF2B5EF4-FFF2-40B4-BE49-F238E27FC236}">
                <a16:creationId xmlns:a16="http://schemas.microsoft.com/office/drawing/2014/main" id="{21AA656B-0BAF-4B75-90BE-93CAC5946C0B}"/>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Tree>
    <p:extLst>
      <p:ext uri="{BB962C8B-B14F-4D97-AF65-F5344CB8AC3E}">
        <p14:creationId xmlns:p14="http://schemas.microsoft.com/office/powerpoint/2010/main" val="622748998"/>
      </p:ext>
    </p:extLst>
  </p:cSld>
  <p:clrMapOvr>
    <a:masterClrMapping/>
  </p:clrMapOvr>
  <p:extLst>
    <p:ext uri="{DCECCB84-F9BA-43D5-87BE-67443E8EF086}">
      <p15:sldGuideLst xmlns:p15="http://schemas.microsoft.com/office/powerpoint/2012/main">
        <p15:guide id="1" pos="259">
          <p15:clr>
            <a:srgbClr val="65CEFF"/>
          </p15:clr>
        </p15:guide>
        <p15:guide id="2" pos="3705">
          <p15:clr>
            <a:srgbClr val="65CEFF"/>
          </p15:clr>
        </p15:guide>
        <p15:guide id="3" pos="3978">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icture dark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a:t>Click to edit </a:t>
            </a:r>
            <a:br>
              <a:rPr lang="en-US"/>
            </a:br>
            <a:r>
              <a:rPr lang="en-US"/>
              <a:t>Master title style </a:t>
            </a:r>
            <a:br>
              <a:rPr lang="en-US"/>
            </a:br>
            <a:r>
              <a:rPr lang="en-US"/>
              <a:t>36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36 </a:t>
            </a:r>
            <a:r>
              <a:rPr lang="en-US" err="1"/>
              <a:t>pt</a:t>
            </a:r>
            <a:endParaRPr lang="en-US"/>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Restricted | © Siemens 20XX | Author | Department | YYYY-MM-DD</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19180285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our object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a:t>Click to edit Master title style</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bwMode="black">
          <a:xfrm>
            <a:off x="411162" y="1414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Copy 2">
            <a:extLst>
              <a:ext uri="{FF2B5EF4-FFF2-40B4-BE49-F238E27FC236}">
                <a16:creationId xmlns:a16="http://schemas.microsoft.com/office/drawing/2014/main" id="{2871E7F7-6A93-4406-8617-80D9CFF396A8}"/>
              </a:ext>
            </a:extLst>
          </p:cNvPr>
          <p:cNvSpPr>
            <a:spLocks noGrp="1"/>
          </p:cNvSpPr>
          <p:nvPr>
            <p:ph sz="half" idx="12"/>
          </p:nvPr>
        </p:nvSpPr>
        <p:spPr bwMode="black">
          <a:xfrm>
            <a:off x="411162" y="3718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py 3">
            <a:extLst>
              <a:ext uri="{FF2B5EF4-FFF2-40B4-BE49-F238E27FC236}">
                <a16:creationId xmlns:a16="http://schemas.microsoft.com/office/drawing/2014/main" id="{BF3FF41E-3844-4153-B955-A1F3E9EC1D30}"/>
              </a:ext>
            </a:extLst>
          </p:cNvPr>
          <p:cNvSpPr>
            <a:spLocks noGrp="1"/>
          </p:cNvSpPr>
          <p:nvPr>
            <p:ph sz="half" idx="2"/>
          </p:nvPr>
        </p:nvSpPr>
        <p:spPr bwMode="black">
          <a:xfrm>
            <a:off x="6315075" y="1414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Copy 4">
            <a:extLst>
              <a:ext uri="{FF2B5EF4-FFF2-40B4-BE49-F238E27FC236}">
                <a16:creationId xmlns:a16="http://schemas.microsoft.com/office/drawing/2014/main" id="{7AD3B9B1-3210-46C8-8222-A0E11719EB88}"/>
              </a:ext>
            </a:extLst>
          </p:cNvPr>
          <p:cNvSpPr>
            <a:spLocks noGrp="1"/>
          </p:cNvSpPr>
          <p:nvPr>
            <p:ph sz="half" idx="13"/>
          </p:nvPr>
        </p:nvSpPr>
        <p:spPr bwMode="black">
          <a:xfrm>
            <a:off x="6315075" y="3718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ooter Placeholder">
            <a:extLst>
              <a:ext uri="{FF2B5EF4-FFF2-40B4-BE49-F238E27FC236}">
                <a16:creationId xmlns:a16="http://schemas.microsoft.com/office/drawing/2014/main" id="{1DF6F0C8-00D9-4034-B3CC-D376702BE1C8}"/>
              </a:ext>
            </a:extLst>
          </p:cNvPr>
          <p:cNvSpPr>
            <a:spLocks noGrp="1"/>
          </p:cNvSpPr>
          <p:nvPr>
            <p:ph type="ftr" sz="quarter" idx="14"/>
          </p:nvPr>
        </p:nvSpPr>
        <p:spPr bwMode="black"/>
        <p:txBody>
          <a:bodyPr/>
          <a:lstStyle/>
          <a:p>
            <a:pPr>
              <a:lnSpc>
                <a:spcPct val="100000"/>
              </a:lnSpc>
            </a:pPr>
            <a:r>
              <a:rPr lang="en-US"/>
              <a:t>Restricted | © Siemens 2021 | Vertical XY | DI CS | December 2021</a:t>
            </a:r>
          </a:p>
        </p:txBody>
      </p:sp>
      <p:sp>
        <p:nvSpPr>
          <p:cNvPr id="7" name="Slide Number Placeholder">
            <a:extLst>
              <a:ext uri="{FF2B5EF4-FFF2-40B4-BE49-F238E27FC236}">
                <a16:creationId xmlns:a16="http://schemas.microsoft.com/office/drawing/2014/main" id="{53D55964-F7E8-48E3-84D5-FE4FE835C563}"/>
              </a:ext>
            </a:extLst>
          </p:cNvPr>
          <p:cNvSpPr>
            <a:spLocks noGrp="1"/>
          </p:cNvSpPr>
          <p:nvPr>
            <p:ph type="sldNum" sz="quarter" idx="15"/>
          </p:nvPr>
        </p:nvSpPr>
        <p:spPr bwMode="black"/>
        <p:txBody>
          <a:body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Tree>
    <p:extLst>
      <p:ext uri="{BB962C8B-B14F-4D97-AF65-F5344CB8AC3E}">
        <p14:creationId xmlns:p14="http://schemas.microsoft.com/office/powerpoint/2010/main" val="2013603179"/>
      </p:ext>
    </p:extLst>
  </p:cSld>
  <p:clrMapOvr>
    <a:masterClrMapping/>
  </p:clrMapOvr>
  <p:extLst>
    <p:ext uri="{DCECCB84-F9BA-43D5-87BE-67443E8EF086}">
      <p15:sldGuideLst xmlns:p15="http://schemas.microsoft.com/office/powerpoint/2012/main">
        <p15:guide id="1" pos="259">
          <p15:clr>
            <a:srgbClr val="65CEFF"/>
          </p15:clr>
        </p15:guide>
        <p15:guide id="2" pos="3705">
          <p15:clr>
            <a:srgbClr val="65CEFF"/>
          </p15:clr>
        </p15:guide>
        <p15:guide id="3" pos="3978">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2206">
          <p15:clr>
            <a:srgbClr val="65CEFF"/>
          </p15:clr>
        </p15:guide>
        <p15:guide id="10" orient="horz" pos="2343">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2"/>
      </p:bgRef>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B29E3DA4-014E-4F3D-8186-84366ADFCB03}"/>
              </a:ext>
            </a:extLst>
          </p:cNvPr>
          <p:cNvSpPr>
            <a:spLocks noGrp="1"/>
          </p:cNvSpPr>
          <p:nvPr>
            <p:ph type="title" hasCustomPrompt="1"/>
          </p:nvPr>
        </p:nvSpPr>
        <p:spPr bwMode="black">
          <a:xfrm>
            <a:off x="411163" y="1234800"/>
            <a:ext cx="9863237" cy="1162523"/>
          </a:xfrm>
          <a:blipFill dpi="0" rotWithShape="1">
            <a:blip r:embed="rId2">
              <a:extLst>
                <a:ext uri="{96DAC541-7B7A-43D3-8B79-37D633B846F1}">
                  <asvg:svgBlip xmlns:asvg="http://schemas.microsoft.com/office/drawing/2016/SVG/main" r:embed="rId3"/>
                </a:ext>
              </a:extLst>
            </a:blip>
            <a:srcRect/>
            <a:stretch>
              <a:fillRect/>
            </a:stretch>
          </a:blipFill>
        </p:spPr>
        <p:txBody>
          <a:bodyPr wrap="square" lIns="0" tIns="54000" rIns="0" bIns="0" anchor="t" anchorCtr="0">
            <a:spAutoFit/>
          </a:bodyPr>
          <a:lstStyle>
            <a:lvl1pPr marL="540000">
              <a:defRPr sz="8000">
                <a:solidFill>
                  <a:schemeClr val="tx1"/>
                </a:solidFill>
              </a:defRPr>
            </a:lvl1pPr>
          </a:lstStyle>
          <a:p>
            <a:r>
              <a:rPr lang="en-US"/>
              <a:t>Contact</a:t>
            </a:r>
          </a:p>
        </p:txBody>
      </p:sp>
      <p:sp>
        <p:nvSpPr>
          <p:cNvPr id="3" name="Copy">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1058400"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lvl2pPr>
            <a:lvl3pPr marL="180000" indent="-180000" algn="l">
              <a:spcAft>
                <a:spcPts val="0"/>
              </a:spcAft>
              <a:buFont typeface="Arial" panose="020B0604020202020204" pitchFamily="34" charset="0"/>
              <a:buChar char="•"/>
              <a:defRPr sz="1400" b="0"/>
            </a:lvl3pPr>
            <a:lvl4pPr marL="360000" indent="-180000" algn="l">
              <a:spcAft>
                <a:spcPts val="0"/>
              </a:spcAft>
              <a:buFont typeface="Arial" panose="020B0604020202020204" pitchFamily="34" charset="0"/>
              <a:buChar char="•"/>
              <a:defRPr sz="1400"/>
            </a:lvl4pPr>
            <a:lvl5pPr marL="360000" indent="-180000" algn="l">
              <a:spcAft>
                <a:spcPts val="0"/>
              </a:spcAft>
              <a:buFont typeface="Arial" panose="020B0604020202020204" pitchFamily="34" charset="0"/>
              <a:buChar char="•"/>
              <a:defRPr sz="1400" b="1"/>
            </a:lvl5pPr>
            <a:lvl6pPr marL="540000" indent="-180000" algn="l">
              <a:spcAft>
                <a:spcPts val="0"/>
              </a:spcAft>
              <a:buFont typeface="Arial" panose="020B0604020202020204" pitchFamily="34" charset="0"/>
              <a:buChar char="•"/>
              <a:defRPr sz="1400"/>
            </a:lvl6pPr>
            <a:lvl7pPr marL="540000" indent="-180000" algn="l">
              <a:spcAft>
                <a:spcPts val="0"/>
              </a:spcAft>
              <a:buFont typeface="Arial" panose="020B0604020202020204" pitchFamily="34" charset="0"/>
              <a:buChar char="•"/>
              <a:defRPr sz="1400" b="1"/>
            </a:lvl7pPr>
            <a:lvl8pPr marL="720000" indent="-180000" algn="l">
              <a:spcAft>
                <a:spcPts val="0"/>
              </a:spcAft>
              <a:buFont typeface="Arial" panose="020B0604020202020204" pitchFamily="34" charset="0"/>
              <a:buChar char="•"/>
              <a:defRPr sz="1400"/>
            </a:lvl8pPr>
            <a:lvl9pPr marL="720000" indent="-180000" algn="l">
              <a:spcAft>
                <a:spcPts val="0"/>
              </a:spcAft>
              <a:buFont typeface="Arial" panose="020B0604020202020204" pitchFamily="34" charset="0"/>
              <a:buChar char="•"/>
              <a:defRPr sz="1400" b="1"/>
            </a:lvl9pPr>
          </a:lstStyle>
          <a:p>
            <a:pPr lvl="0"/>
            <a:r>
              <a:rPr lang="en-US"/>
              <a:t>Click to edit the contact</a:t>
            </a:r>
          </a:p>
          <a:p>
            <a:pPr lvl="1"/>
            <a:r>
              <a:rPr lang="en-US"/>
              <a:t>Name etc.</a:t>
            </a:r>
          </a:p>
          <a:p>
            <a:pPr lvl="2"/>
            <a:r>
              <a:rPr lang="en-US"/>
              <a:t>Department etc.</a:t>
            </a:r>
          </a:p>
          <a:p>
            <a:pPr lvl="3"/>
            <a:r>
              <a:rPr lang="en-US"/>
              <a:t>subchapter</a:t>
            </a:r>
          </a:p>
          <a:p>
            <a:pPr lvl="4"/>
            <a:r>
              <a:rPr lang="en-US"/>
              <a:t>active subchapter</a:t>
            </a:r>
          </a:p>
        </p:txBody>
      </p:sp>
      <p:sp>
        <p:nvSpPr>
          <p:cNvPr id="8" name="Footer Placeholder">
            <a:extLst>
              <a:ext uri="{FF2B5EF4-FFF2-40B4-BE49-F238E27FC236}">
                <a16:creationId xmlns:a16="http://schemas.microsoft.com/office/drawing/2014/main" id="{3279A350-3BB2-4CA2-A422-8F5A951F6F64}"/>
              </a:ext>
            </a:extLst>
          </p:cNvPr>
          <p:cNvSpPr>
            <a:spLocks noGrp="1"/>
          </p:cNvSpPr>
          <p:nvPr>
            <p:ph type="ftr" sz="quarter" idx="10"/>
          </p:nvPr>
        </p:nvSpPr>
        <p:spPr bwMode="black"/>
        <p:txBody>
          <a:bodyPr/>
          <a:lstStyle/>
          <a:p>
            <a:pPr>
              <a:lnSpc>
                <a:spcPct val="100000"/>
              </a:lnSpc>
            </a:pPr>
            <a:r>
              <a:rPr lang="en-US"/>
              <a:t>Restricted | © Siemens 2021 | Vertical XY | DI CS | December 2021</a:t>
            </a:r>
          </a:p>
        </p:txBody>
      </p:sp>
      <p:sp>
        <p:nvSpPr>
          <p:cNvPr id="9" name="Slide Number Placeholder">
            <a:extLst>
              <a:ext uri="{FF2B5EF4-FFF2-40B4-BE49-F238E27FC236}">
                <a16:creationId xmlns:a16="http://schemas.microsoft.com/office/drawing/2014/main" id="{CFF9630D-791D-45AE-8E5E-36F747F599E9}"/>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5FD2C39E-5D81-4A0E-9F45-909328900889}"/>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bwMode="black">
          <a:xfrm>
            <a:off x="10635188" y="6418800"/>
            <a:ext cx="1152000" cy="183168"/>
          </a:xfrm>
          <a:prstGeom prst="rect">
            <a:avLst/>
          </a:prstGeom>
        </p:spPr>
      </p:pic>
    </p:spTree>
    <p:extLst>
      <p:ext uri="{BB962C8B-B14F-4D97-AF65-F5344CB8AC3E}">
        <p14:creationId xmlns:p14="http://schemas.microsoft.com/office/powerpoint/2010/main" val="1560988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778">
          <p15:clr>
            <a:srgbClr val="65CEFF"/>
          </p15:clr>
        </p15:guide>
        <p15:guide id="5" orient="horz" pos="3658">
          <p15:clr>
            <a:srgbClr val="65CEFF"/>
          </p15:clr>
        </p15:guide>
        <p15:guide id="6" orient="horz" pos="4157">
          <p15:clr>
            <a:srgbClr val="65CEF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Gradient DB–Petrol 6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6" name="Cognisphere" descr="Siemens Cognisphere on Deep Blue Petrol gradient">
            <a:extLst>
              <a:ext uri="{FF2B5EF4-FFF2-40B4-BE49-F238E27FC236}">
                <a16:creationId xmlns:a16="http://schemas.microsoft.com/office/drawing/2014/main" id="{DF3DAF0E-BB8A-4082-8CE7-1BBCE61C8CD0}"/>
              </a:ext>
            </a:extLst>
          </p:cNvPr>
          <p:cNvPicPr>
            <a:picLocks noChangeAspect="1"/>
          </p:cNvPicPr>
          <p:nvPr userDrawn="1"/>
        </p:nvPicPr>
        <p:blipFill>
          <a:blip r:embed="rId2"/>
          <a:srcRect/>
          <a:stretch/>
        </p:blipFill>
        <p:spPr bwMode="invGray">
          <a:xfrm>
            <a:off x="692" y="0"/>
            <a:ext cx="12190615"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a:t>Click to edit </a:t>
            </a:r>
            <a:br>
              <a:rPr lang="en-US"/>
            </a:br>
            <a:r>
              <a:rPr lang="en-US"/>
              <a:t>Master title style</a:t>
            </a:r>
            <a:br>
              <a:rPr lang="en-US"/>
            </a:br>
            <a:r>
              <a:rPr lang="en-US"/>
              <a:t>3 lines 6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1"/>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22 | L. Uebler | DI CS SD CSS KMT | 2022-02-22</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bwMode="black">
          <a:xfrm>
            <a:off x="10274400" y="6364800"/>
            <a:ext cx="1512000" cy="240408"/>
          </a:xfrm>
          <a:prstGeom prst="rect">
            <a:avLst/>
          </a:prstGeom>
        </p:spPr>
      </p:pic>
    </p:spTree>
    <p:extLst>
      <p:ext uri="{BB962C8B-B14F-4D97-AF65-F5344CB8AC3E}">
        <p14:creationId xmlns:p14="http://schemas.microsoft.com/office/powerpoint/2010/main" val="2200920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hapter title dark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a:t>Click to edit Master title style 8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399"/>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160" y="6310800"/>
            <a:ext cx="8640003" cy="547200"/>
          </a:xfrm>
        </p:spPr>
        <p:txBody>
          <a:bodyPr/>
          <a:lstStyle/>
          <a:p>
            <a:r>
              <a:rPr lang="en-US"/>
              <a:t>Restricted | © Siemens 2022 | L. Uebler | DI CS SD CSS KMT | 2022-02-22</a:t>
            </a:r>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bwMode="black">
          <a:xfrm>
            <a:off x="10274400" y="6364800"/>
            <a:ext cx="1512000" cy="240408"/>
          </a:xfrm>
          <a:prstGeom prst="rect">
            <a:avLst/>
          </a:prstGeom>
        </p:spPr>
      </p:pic>
    </p:spTree>
    <p:extLst>
      <p:ext uri="{BB962C8B-B14F-4D97-AF65-F5344CB8AC3E}">
        <p14:creationId xmlns:p14="http://schemas.microsoft.com/office/powerpoint/2010/main" val="54855905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p>
            <a:r>
              <a:rPr lang="de-DE"/>
              <a:t>Mastertitelformat bearbeiten</a:t>
            </a:r>
            <a:endParaRPr lang="en-US"/>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Restricted | © Siemens 2022 | L. Uebler | DI CS SD CSS KMT | 2022-02-22</a:t>
            </a:r>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Tree>
    <p:extLst>
      <p:ext uri="{BB962C8B-B14F-4D97-AF65-F5344CB8AC3E}">
        <p14:creationId xmlns:p14="http://schemas.microsoft.com/office/powerpoint/2010/main" val="552322033"/>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One object (small)">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p>
            <a:r>
              <a:rPr lang="de-DE"/>
              <a:t>Mastertitelformat bearbeiten</a:t>
            </a:r>
            <a:endParaRPr lang="en-US"/>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bwMode="black">
          <a:xfrm>
            <a:off x="411162" y="1414800"/>
            <a:ext cx="7199313" cy="4752000"/>
          </a:xfrm>
          <a:prstGeom prst="rect">
            <a:avLst/>
          </a:prstGeo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a:extLst>
              <a:ext uri="{FF2B5EF4-FFF2-40B4-BE49-F238E27FC236}">
                <a16:creationId xmlns:a16="http://schemas.microsoft.com/office/drawing/2014/main" id="{E519D384-FA09-4D60-95A8-589F157A93F4}"/>
              </a:ext>
            </a:extLst>
          </p:cNvPr>
          <p:cNvSpPr>
            <a:spLocks noGrp="1"/>
          </p:cNvSpPr>
          <p:nvPr>
            <p:ph type="ftr" sz="quarter" idx="10"/>
          </p:nvPr>
        </p:nvSpPr>
        <p:spPr bwMode="black"/>
        <p:txBody>
          <a:bodyPr/>
          <a:lstStyle/>
          <a:p>
            <a:pPr>
              <a:lnSpc>
                <a:spcPct val="100000"/>
              </a:lnSpc>
            </a:pPr>
            <a:r>
              <a:rPr lang="en-US"/>
              <a:t>Restricted | © Siemens 2022 | L. Uebler | DI CS SD CSS KMT | 2022-02-22</a:t>
            </a:r>
          </a:p>
        </p:txBody>
      </p:sp>
      <p:sp>
        <p:nvSpPr>
          <p:cNvPr id="6" name="Slide Number Placeholder">
            <a:extLst>
              <a:ext uri="{FF2B5EF4-FFF2-40B4-BE49-F238E27FC236}">
                <a16:creationId xmlns:a16="http://schemas.microsoft.com/office/drawing/2014/main" id="{7B1666FD-2258-443A-846C-6C7533C61D5C}"/>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pic>
        <p:nvPicPr>
          <p:cNvPr id="8" name="Siemens Logo">
            <a:extLst>
              <a:ext uri="{FF2B5EF4-FFF2-40B4-BE49-F238E27FC236}">
                <a16:creationId xmlns:a16="http://schemas.microsoft.com/office/drawing/2014/main" id="{91EB517C-C8FD-4E2E-B744-DB952E96B47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35188" y="6418800"/>
            <a:ext cx="1152000" cy="183168"/>
          </a:xfrm>
          <a:prstGeom prst="rect">
            <a:avLst/>
          </a:prstGeom>
        </p:spPr>
      </p:pic>
    </p:spTree>
    <p:extLst>
      <p:ext uri="{BB962C8B-B14F-4D97-AF65-F5344CB8AC3E}">
        <p14:creationId xmlns:p14="http://schemas.microsoft.com/office/powerpoint/2010/main" val="3802990686"/>
      </p:ext>
    </p:extLst>
  </p:cSld>
  <p:clrMapOvr>
    <a:masterClrMapping/>
  </p:clrMapOvr>
  <p:extLst>
    <p:ext uri="{DCECCB84-F9BA-43D5-87BE-67443E8EF086}">
      <p15:sldGuideLst xmlns:p15="http://schemas.microsoft.com/office/powerpoint/2012/main">
        <p15:guide id="1" pos="259">
          <p15:clr>
            <a:srgbClr val="65CEFF"/>
          </p15:clr>
        </p15:guide>
        <p15:guide id="2" pos="4794">
          <p15:clr>
            <a:srgbClr val="65CEFF"/>
          </p15:clr>
        </p15:guide>
        <p15:guide id="3" pos="6472">
          <p15:clr>
            <a:srgbClr val="65CEFF"/>
          </p15:clr>
        </p15:guide>
        <p15:guide id="4" pos="7425">
          <p15:clr>
            <a:srgbClr val="65CEFF"/>
          </p15:clr>
        </p15:guide>
        <p15:guide id="5" orient="horz" pos="302">
          <p15:clr>
            <a:srgbClr val="65CEFF"/>
          </p15:clr>
        </p15:guide>
        <p15:guide id="6" orient="horz" pos="664">
          <p15:clr>
            <a:srgbClr val="65CEFF"/>
          </p15:clr>
        </p15:guide>
        <p15:guide id="7" orient="horz" pos="891">
          <p15:clr>
            <a:srgbClr val="65CEFF"/>
          </p15:clr>
        </p15:guide>
        <p15:guide id="8" orient="horz" pos="3658">
          <p15:clr>
            <a:srgbClr val="65CEFF"/>
          </p15:clr>
        </p15:guide>
        <p15:guide id="9" orient="horz" pos="3885">
          <p15:clr>
            <a:srgbClr val="65CEFF"/>
          </p15:clr>
        </p15:guide>
        <p15:guide id="10" orient="horz" pos="4157">
          <p15:clr>
            <a:srgbClr val="65CEF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2"/>
      </p:bgRef>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B29E3DA4-014E-4F3D-8186-84366ADFCB03}"/>
              </a:ext>
            </a:extLst>
          </p:cNvPr>
          <p:cNvSpPr>
            <a:spLocks noGrp="1"/>
          </p:cNvSpPr>
          <p:nvPr>
            <p:ph type="title" hasCustomPrompt="1"/>
          </p:nvPr>
        </p:nvSpPr>
        <p:spPr bwMode="black">
          <a:xfrm>
            <a:off x="411163" y="1234800"/>
            <a:ext cx="9863237" cy="1162523"/>
          </a:xfrm>
          <a:blipFill dpi="0" rotWithShape="1">
            <a:blip r:embed="rId2">
              <a:extLst>
                <a:ext uri="{96DAC541-7B7A-43D3-8B79-37D633B846F1}">
                  <asvg:svgBlip xmlns:asvg="http://schemas.microsoft.com/office/drawing/2016/SVG/main" r:embed="rId3"/>
                </a:ext>
              </a:extLst>
            </a:blip>
            <a:srcRect/>
            <a:stretch>
              <a:fillRect/>
            </a:stretch>
          </a:blipFill>
        </p:spPr>
        <p:txBody>
          <a:bodyPr wrap="square" lIns="0" tIns="54000" rIns="0" bIns="0" anchor="t" anchorCtr="0">
            <a:spAutoFit/>
          </a:bodyPr>
          <a:lstStyle>
            <a:lvl1pPr marL="540000">
              <a:defRPr sz="8000">
                <a:solidFill>
                  <a:schemeClr val="tx1"/>
                </a:solidFill>
              </a:defRPr>
            </a:lvl1pPr>
          </a:lstStyle>
          <a:p>
            <a:r>
              <a:rPr lang="en-US"/>
              <a:t>Contact</a:t>
            </a:r>
          </a:p>
        </p:txBody>
      </p:sp>
      <p:sp>
        <p:nvSpPr>
          <p:cNvPr id="3" name="Copy">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1058400"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lvl2pPr>
            <a:lvl3pPr marL="180000" indent="-180000" algn="l">
              <a:spcAft>
                <a:spcPts val="0"/>
              </a:spcAft>
              <a:buFont typeface="Arial" panose="020B0604020202020204" pitchFamily="34" charset="0"/>
              <a:buChar char="•"/>
              <a:defRPr sz="1400" b="0"/>
            </a:lvl3pPr>
            <a:lvl4pPr marL="360000" indent="-180000" algn="l">
              <a:spcAft>
                <a:spcPts val="0"/>
              </a:spcAft>
              <a:buFont typeface="Arial" panose="020B0604020202020204" pitchFamily="34" charset="0"/>
              <a:buChar char="•"/>
              <a:defRPr sz="1400"/>
            </a:lvl4pPr>
            <a:lvl5pPr marL="360000" indent="-180000" algn="l">
              <a:spcAft>
                <a:spcPts val="0"/>
              </a:spcAft>
              <a:buFont typeface="Arial" panose="020B0604020202020204" pitchFamily="34" charset="0"/>
              <a:buChar char="•"/>
              <a:defRPr sz="1400" b="1"/>
            </a:lvl5pPr>
            <a:lvl6pPr marL="540000" indent="-180000" algn="l">
              <a:spcAft>
                <a:spcPts val="0"/>
              </a:spcAft>
              <a:buFont typeface="Arial" panose="020B0604020202020204" pitchFamily="34" charset="0"/>
              <a:buChar char="•"/>
              <a:defRPr sz="1400"/>
            </a:lvl6pPr>
            <a:lvl7pPr marL="540000" indent="-180000" algn="l">
              <a:spcAft>
                <a:spcPts val="0"/>
              </a:spcAft>
              <a:buFont typeface="Arial" panose="020B0604020202020204" pitchFamily="34" charset="0"/>
              <a:buChar char="•"/>
              <a:defRPr sz="1400" b="1"/>
            </a:lvl7pPr>
            <a:lvl8pPr marL="720000" indent="-180000" algn="l">
              <a:spcAft>
                <a:spcPts val="0"/>
              </a:spcAft>
              <a:buFont typeface="Arial" panose="020B0604020202020204" pitchFamily="34" charset="0"/>
              <a:buChar char="•"/>
              <a:defRPr sz="1400"/>
            </a:lvl8pPr>
            <a:lvl9pPr marL="720000" indent="-180000" algn="l">
              <a:spcAft>
                <a:spcPts val="0"/>
              </a:spcAft>
              <a:buFont typeface="Arial" panose="020B0604020202020204" pitchFamily="34" charset="0"/>
              <a:buChar char="•"/>
              <a:defRPr sz="1400" b="1"/>
            </a:lvl9pPr>
          </a:lstStyle>
          <a:p>
            <a:pPr lvl="0"/>
            <a:r>
              <a:rPr lang="en-US"/>
              <a:t>Click to edit the contact</a:t>
            </a:r>
          </a:p>
          <a:p>
            <a:pPr lvl="1"/>
            <a:r>
              <a:rPr lang="en-US"/>
              <a:t>Name etc.</a:t>
            </a:r>
          </a:p>
          <a:p>
            <a:pPr lvl="2"/>
            <a:r>
              <a:rPr lang="en-US"/>
              <a:t>Department etc.</a:t>
            </a:r>
          </a:p>
          <a:p>
            <a:pPr lvl="3"/>
            <a:r>
              <a:rPr lang="en-US"/>
              <a:t>subchapter</a:t>
            </a:r>
          </a:p>
          <a:p>
            <a:pPr lvl="4"/>
            <a:r>
              <a:rPr lang="en-US"/>
              <a:t>active subchapter</a:t>
            </a:r>
          </a:p>
        </p:txBody>
      </p:sp>
      <p:sp>
        <p:nvSpPr>
          <p:cNvPr id="8" name="Footer Placeholder">
            <a:extLst>
              <a:ext uri="{FF2B5EF4-FFF2-40B4-BE49-F238E27FC236}">
                <a16:creationId xmlns:a16="http://schemas.microsoft.com/office/drawing/2014/main" id="{3279A350-3BB2-4CA2-A422-8F5A951F6F64}"/>
              </a:ext>
            </a:extLst>
          </p:cNvPr>
          <p:cNvSpPr>
            <a:spLocks noGrp="1"/>
          </p:cNvSpPr>
          <p:nvPr>
            <p:ph type="ftr" sz="quarter" idx="10"/>
          </p:nvPr>
        </p:nvSpPr>
        <p:spPr bwMode="black"/>
        <p:txBody>
          <a:bodyPr/>
          <a:lstStyle/>
          <a:p>
            <a:pPr>
              <a:lnSpc>
                <a:spcPct val="100000"/>
              </a:lnSpc>
            </a:pPr>
            <a:r>
              <a:rPr lang="en-US"/>
              <a:t>Restricted | © Siemens 2022 | L. Uebler | DI CS SD CSS KMT | 2022-02-22</a:t>
            </a:r>
          </a:p>
        </p:txBody>
      </p:sp>
      <p:sp>
        <p:nvSpPr>
          <p:cNvPr id="9" name="Slide Number Placeholder">
            <a:extLst>
              <a:ext uri="{FF2B5EF4-FFF2-40B4-BE49-F238E27FC236}">
                <a16:creationId xmlns:a16="http://schemas.microsoft.com/office/drawing/2014/main" id="{CFF9630D-791D-45AE-8E5E-36F747F599E9}"/>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5FD2C39E-5D81-4A0E-9F45-909328900889}"/>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bwMode="black">
          <a:xfrm>
            <a:off x="10635188" y="6418800"/>
            <a:ext cx="1152000" cy="183168"/>
          </a:xfrm>
          <a:prstGeom prst="rect">
            <a:avLst/>
          </a:prstGeom>
        </p:spPr>
      </p:pic>
    </p:spTree>
    <p:extLst>
      <p:ext uri="{BB962C8B-B14F-4D97-AF65-F5344CB8AC3E}">
        <p14:creationId xmlns:p14="http://schemas.microsoft.com/office/powerpoint/2010/main" val="16440404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778">
          <p15:clr>
            <a:srgbClr val="65CEFF"/>
          </p15:clr>
        </p15:guide>
        <p15:guide id="5" orient="horz" pos="3658">
          <p15:clr>
            <a:srgbClr val="65CEFF"/>
          </p15:clr>
        </p15:guide>
        <p15:guide id="6" orient="horz" pos="4157">
          <p15:clr>
            <a:srgbClr val="65CEF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en-US" noProof="0"/>
          </a:p>
        </p:txBody>
      </p:sp>
      <p:sp>
        <p:nvSpPr>
          <p:cNvPr id="4" name="Bildplatzhalter 3"/>
          <p:cNvSpPr>
            <a:spLocks noGrp="1"/>
          </p:cNvSpPr>
          <p:nvPr>
            <p:ph type="pic" sz="quarter" idx="10"/>
          </p:nvPr>
        </p:nvSpPr>
        <p:spPr>
          <a:xfrm>
            <a:off x="0" y="1440000"/>
            <a:ext cx="12197647" cy="4752000"/>
          </a:xfrm>
        </p:spPr>
        <p:txBody>
          <a:bodyPr tIns="1800000"/>
          <a:lstStyle>
            <a:lvl1pPr algn="ctr">
              <a:defRPr/>
            </a:lvl1pPr>
          </a:lstStyle>
          <a:p>
            <a:r>
              <a:rPr lang="de-DE" noProof="0"/>
              <a:t>Bild durch Klicken auf Symbol hinzufügen</a:t>
            </a:r>
            <a:endParaRPr lang="en-US" noProof="0"/>
          </a:p>
        </p:txBody>
      </p:sp>
    </p:spTree>
    <p:custDataLst>
      <p:tags r:id="rId1"/>
    </p:custDataLst>
    <p:extLst>
      <p:ext uri="{BB962C8B-B14F-4D97-AF65-F5344CB8AC3E}">
        <p14:creationId xmlns:p14="http://schemas.microsoft.com/office/powerpoint/2010/main" val="2790315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Full bleed color Deep Blue">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p>
            <a:pPr>
              <a:lnSpc>
                <a:spcPct val="100000"/>
              </a:lnSpc>
            </a:pPr>
            <a:r>
              <a:rPr lang="en-US"/>
              <a:t>Restricted | © Siemens 2021 | Sitrain Vertical Strategy | L. Uebler | December 2021</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35188" y="6418800"/>
            <a:ext cx="1152000" cy="183168"/>
          </a:xfrm>
          <a:prstGeom prst="rect">
            <a:avLst/>
          </a:prstGeom>
        </p:spPr>
      </p:pic>
    </p:spTree>
    <p:extLst>
      <p:ext uri="{BB962C8B-B14F-4D97-AF65-F5344CB8AC3E}">
        <p14:creationId xmlns:p14="http://schemas.microsoft.com/office/powerpoint/2010/main" val="33433241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pic>
        <p:nvPicPr>
          <p:cNvPr id="6" name="Cognisphere" descr="A picture containing fireworks, star, table, sky&#10;&#10;Description automatically generated">
            <a:extLst>
              <a:ext uri="{FF2B5EF4-FFF2-40B4-BE49-F238E27FC236}">
                <a16:creationId xmlns:a16="http://schemas.microsoft.com/office/drawing/2014/main" id="{591CD5A4-BDEB-4734-8FA5-5C3B4A08A49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a:t>Click to edit Master title style 8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8493779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81.xml"/><Relationship Id="rId21" Type="http://schemas.openxmlformats.org/officeDocument/2006/relationships/slideLayout" Target="../slideLayouts/slideLayout76.xml"/><Relationship Id="rId34" Type="http://schemas.openxmlformats.org/officeDocument/2006/relationships/tags" Target="../tags/tag3.xml"/><Relationship Id="rId42" Type="http://schemas.openxmlformats.org/officeDocument/2006/relationships/tags" Target="../tags/tag11.xml"/><Relationship Id="rId47" Type="http://schemas.openxmlformats.org/officeDocument/2006/relationships/tags" Target="../tags/tag16.xml"/><Relationship Id="rId50" Type="http://schemas.openxmlformats.org/officeDocument/2006/relationships/tags" Target="../tags/tag19.xml"/><Relationship Id="rId55" Type="http://schemas.openxmlformats.org/officeDocument/2006/relationships/tags" Target="../tags/tag24.xml"/><Relationship Id="rId63" Type="http://schemas.openxmlformats.org/officeDocument/2006/relationships/oleObject" Target="../embeddings/oleObject1.bin"/><Relationship Id="rId7" Type="http://schemas.openxmlformats.org/officeDocument/2006/relationships/slideLayout" Target="../slideLayouts/slideLayout6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9" Type="http://schemas.openxmlformats.org/officeDocument/2006/relationships/slideLayout" Target="../slideLayouts/slideLayout84.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tags" Target="../tags/tag1.xml"/><Relationship Id="rId37" Type="http://schemas.openxmlformats.org/officeDocument/2006/relationships/tags" Target="../tags/tag6.xml"/><Relationship Id="rId40" Type="http://schemas.openxmlformats.org/officeDocument/2006/relationships/tags" Target="../tags/tag9.xml"/><Relationship Id="rId45" Type="http://schemas.openxmlformats.org/officeDocument/2006/relationships/tags" Target="../tags/tag14.xml"/><Relationship Id="rId53" Type="http://schemas.openxmlformats.org/officeDocument/2006/relationships/tags" Target="../tags/tag22.xml"/><Relationship Id="rId58" Type="http://schemas.openxmlformats.org/officeDocument/2006/relationships/tags" Target="../tags/tag27.xml"/><Relationship Id="rId66" Type="http://schemas.openxmlformats.org/officeDocument/2006/relationships/image" Target="../media/image31.png"/><Relationship Id="rId5" Type="http://schemas.openxmlformats.org/officeDocument/2006/relationships/slideLayout" Target="../slideLayouts/slideLayout60.xml"/><Relationship Id="rId61" Type="http://schemas.openxmlformats.org/officeDocument/2006/relationships/tags" Target="../tags/tag30.xml"/><Relationship Id="rId19" Type="http://schemas.openxmlformats.org/officeDocument/2006/relationships/slideLayout" Target="../slideLayouts/slideLayout7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tags" Target="../tags/tag4.xml"/><Relationship Id="rId43" Type="http://schemas.openxmlformats.org/officeDocument/2006/relationships/tags" Target="../tags/tag12.xml"/><Relationship Id="rId48" Type="http://schemas.openxmlformats.org/officeDocument/2006/relationships/tags" Target="../tags/tag17.xml"/><Relationship Id="rId56" Type="http://schemas.openxmlformats.org/officeDocument/2006/relationships/tags" Target="../tags/tag25.xml"/><Relationship Id="rId64" Type="http://schemas.openxmlformats.org/officeDocument/2006/relationships/image" Target="../media/image30.emf"/><Relationship Id="rId8" Type="http://schemas.openxmlformats.org/officeDocument/2006/relationships/slideLayout" Target="../slideLayouts/slideLayout63.xml"/><Relationship Id="rId51" Type="http://schemas.openxmlformats.org/officeDocument/2006/relationships/tags" Target="../tags/tag20.xml"/><Relationship Id="rId3" Type="http://schemas.openxmlformats.org/officeDocument/2006/relationships/slideLayout" Target="../slideLayouts/slideLayout58.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tags" Target="../tags/tag2.xml"/><Relationship Id="rId38" Type="http://schemas.openxmlformats.org/officeDocument/2006/relationships/tags" Target="../tags/tag7.xml"/><Relationship Id="rId46" Type="http://schemas.openxmlformats.org/officeDocument/2006/relationships/tags" Target="../tags/tag15.xml"/><Relationship Id="rId59" Type="http://schemas.openxmlformats.org/officeDocument/2006/relationships/tags" Target="../tags/tag28.xml"/><Relationship Id="rId20" Type="http://schemas.openxmlformats.org/officeDocument/2006/relationships/slideLayout" Target="../slideLayouts/slideLayout75.xml"/><Relationship Id="rId41" Type="http://schemas.openxmlformats.org/officeDocument/2006/relationships/tags" Target="../tags/tag10.xml"/><Relationship Id="rId54" Type="http://schemas.openxmlformats.org/officeDocument/2006/relationships/tags" Target="../tags/tag23.xml"/><Relationship Id="rId62" Type="http://schemas.openxmlformats.org/officeDocument/2006/relationships/tags" Target="../tags/tag3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tags" Target="../tags/tag5.xml"/><Relationship Id="rId49" Type="http://schemas.openxmlformats.org/officeDocument/2006/relationships/tags" Target="../tags/tag18.xml"/><Relationship Id="rId57" Type="http://schemas.openxmlformats.org/officeDocument/2006/relationships/tags" Target="../tags/tag26.xml"/><Relationship Id="rId10" Type="http://schemas.openxmlformats.org/officeDocument/2006/relationships/slideLayout" Target="../slideLayouts/slideLayout65.xml"/><Relationship Id="rId31" Type="http://schemas.openxmlformats.org/officeDocument/2006/relationships/theme" Target="../theme/theme2.xml"/><Relationship Id="rId44" Type="http://schemas.openxmlformats.org/officeDocument/2006/relationships/tags" Target="../tags/tag13.xml"/><Relationship Id="rId52" Type="http://schemas.openxmlformats.org/officeDocument/2006/relationships/tags" Target="../tags/tag21.xml"/><Relationship Id="rId60" Type="http://schemas.openxmlformats.org/officeDocument/2006/relationships/tags" Target="../tags/tag29.xml"/><Relationship Id="rId65" Type="http://schemas.openxmlformats.org/officeDocument/2006/relationships/hyperlink" Target="https://new.siemens.com/global/de/produkte/services/industrie/sitrain.html" TargetMode="External"/><Relationship Id="rId4" Type="http://schemas.openxmlformats.org/officeDocument/2006/relationships/slideLayout" Target="../slideLayouts/slideLayout59.xml"/><Relationship Id="rId9" Type="http://schemas.openxmlformats.org/officeDocument/2006/relationships/slideLayout" Target="../slideLayouts/slideLayout64.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9" Type="http://schemas.openxmlformats.org/officeDocument/2006/relationships/tags" Target="../tags/tag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17.xml"/><Relationship Id="rId3" Type="http://schemas.openxmlformats.org/officeDocument/2006/relationships/slideLayout" Target="../slideLayouts/slideLayout88.xml"/><Relationship Id="rId7" Type="http://schemas.openxmlformats.org/officeDocument/2006/relationships/theme" Target="../theme/theme3.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5" Type="http://schemas.openxmlformats.org/officeDocument/2006/relationships/slideLayout" Target="../slideLayouts/slideLayout90.xml"/><Relationship Id="rId10" Type="http://schemas.openxmlformats.org/officeDocument/2006/relationships/image" Target="../media/image34.emf"/><Relationship Id="rId4" Type="http://schemas.openxmlformats.org/officeDocument/2006/relationships/slideLayout" Target="../slideLayouts/slideLayout89.xml"/><Relationship Id="rId9" Type="http://schemas.openxmlformats.org/officeDocument/2006/relationships/oleObject" Target="../embeddings/oleObject4.bin"/></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94.xml"/><Relationship Id="rId7" Type="http://schemas.openxmlformats.org/officeDocument/2006/relationships/slideLayout" Target="../slideLayouts/slideLayout98.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5" Type="http://schemas.openxmlformats.org/officeDocument/2006/relationships/slideLayout" Target="../slideLayouts/slideLayout96.xml"/><Relationship Id="rId4" Type="http://schemas.openxmlformats.org/officeDocument/2006/relationships/slideLayout" Target="../slideLayouts/slideLayout9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slideLayout" Target="../slideLayouts/slideLayout137.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42" Type="http://schemas.openxmlformats.org/officeDocument/2006/relationships/slideLayout" Target="../slideLayouts/slideLayout140.xml"/><Relationship Id="rId47" Type="http://schemas.openxmlformats.org/officeDocument/2006/relationships/slideLayout" Target="../slideLayouts/slideLayout145.xml"/><Relationship Id="rId50" Type="http://schemas.openxmlformats.org/officeDocument/2006/relationships/slideLayout" Target="../slideLayouts/slideLayout148.xml"/><Relationship Id="rId55" Type="http://schemas.openxmlformats.org/officeDocument/2006/relationships/theme" Target="../theme/theme5.xml"/><Relationship Id="rId7" Type="http://schemas.openxmlformats.org/officeDocument/2006/relationships/slideLayout" Target="../slideLayouts/slideLayout10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9" Type="http://schemas.openxmlformats.org/officeDocument/2006/relationships/slideLayout" Target="../slideLayouts/slideLayout127.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40" Type="http://schemas.openxmlformats.org/officeDocument/2006/relationships/slideLayout" Target="../slideLayouts/slideLayout138.xml"/><Relationship Id="rId45" Type="http://schemas.openxmlformats.org/officeDocument/2006/relationships/slideLayout" Target="../slideLayouts/slideLayout143.xml"/><Relationship Id="rId53" Type="http://schemas.openxmlformats.org/officeDocument/2006/relationships/slideLayout" Target="../slideLayouts/slideLayout151.xml"/><Relationship Id="rId58" Type="http://schemas.openxmlformats.org/officeDocument/2006/relationships/image" Target="../media/image36.emf"/><Relationship Id="rId5" Type="http://schemas.openxmlformats.org/officeDocument/2006/relationships/slideLayout" Target="../slideLayouts/slideLayout103.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43" Type="http://schemas.openxmlformats.org/officeDocument/2006/relationships/slideLayout" Target="../slideLayouts/slideLayout141.xml"/><Relationship Id="rId48" Type="http://schemas.openxmlformats.org/officeDocument/2006/relationships/slideLayout" Target="../slideLayouts/slideLayout146.xml"/><Relationship Id="rId56" Type="http://schemas.openxmlformats.org/officeDocument/2006/relationships/tags" Target="../tags/tag119.xml"/><Relationship Id="rId8" Type="http://schemas.openxmlformats.org/officeDocument/2006/relationships/slideLayout" Target="../slideLayouts/slideLayout106.xml"/><Relationship Id="rId51" Type="http://schemas.openxmlformats.org/officeDocument/2006/relationships/slideLayout" Target="../slideLayouts/slideLayout149.xml"/><Relationship Id="rId3" Type="http://schemas.openxmlformats.org/officeDocument/2006/relationships/slideLayout" Target="../slideLayouts/slideLayout101.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slideLayout" Target="../slideLayouts/slideLayout136.xml"/><Relationship Id="rId46" Type="http://schemas.openxmlformats.org/officeDocument/2006/relationships/slideLayout" Target="../slideLayouts/slideLayout144.xml"/><Relationship Id="rId20" Type="http://schemas.openxmlformats.org/officeDocument/2006/relationships/slideLayout" Target="../slideLayouts/slideLayout118.xml"/><Relationship Id="rId41" Type="http://schemas.openxmlformats.org/officeDocument/2006/relationships/slideLayout" Target="../slideLayouts/slideLayout139.xml"/><Relationship Id="rId54" Type="http://schemas.openxmlformats.org/officeDocument/2006/relationships/slideLayout" Target="../slideLayouts/slideLayout152.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49" Type="http://schemas.openxmlformats.org/officeDocument/2006/relationships/slideLayout" Target="../slideLayouts/slideLayout147.xml"/><Relationship Id="rId57" Type="http://schemas.openxmlformats.org/officeDocument/2006/relationships/oleObject" Target="../embeddings/oleObject5.bin"/><Relationship Id="rId10" Type="http://schemas.openxmlformats.org/officeDocument/2006/relationships/slideLayout" Target="../slideLayouts/slideLayout108.xml"/><Relationship Id="rId31" Type="http://schemas.openxmlformats.org/officeDocument/2006/relationships/slideLayout" Target="../slideLayouts/slideLayout129.xml"/><Relationship Id="rId44" Type="http://schemas.openxmlformats.org/officeDocument/2006/relationships/slideLayout" Target="../slideLayouts/slideLayout142.xml"/><Relationship Id="rId52" Type="http://schemas.openxmlformats.org/officeDocument/2006/relationships/slideLayout" Target="../slideLayouts/slideLayout1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2500D031-E8B7-42AD-B616-57A243A31EFA}"/>
              </a:ext>
            </a:extLst>
          </p:cNvPr>
          <p:cNvSpPr>
            <a:spLocks noGrp="1"/>
          </p:cNvSpPr>
          <p:nvPr>
            <p:ph type="title"/>
          </p:nvPr>
        </p:nvSpPr>
        <p:spPr>
          <a:xfrm>
            <a:off x="410400" y="478800"/>
            <a:ext cx="9863997" cy="576000"/>
          </a:xfrm>
          <a:prstGeom prst="rect">
            <a:avLst/>
          </a:prstGeom>
        </p:spPr>
        <p:txBody>
          <a:bodyPr vert="horz" lIns="0" tIns="0" rIns="324000" bIns="14400" rtlCol="0" anchor="b" anchorCtr="0">
            <a:noAutofit/>
          </a:bodyPr>
          <a:lstStyle/>
          <a:p>
            <a:r>
              <a:rPr lang="en-US"/>
              <a:t>Click to edit Master title style</a:t>
            </a:r>
          </a:p>
        </p:txBody>
      </p:sp>
      <p:sp>
        <p:nvSpPr>
          <p:cNvPr id="3" name="Text Placeholder">
            <a:extLst>
              <a:ext uri="{FF2B5EF4-FFF2-40B4-BE49-F238E27FC236}">
                <a16:creationId xmlns:a16="http://schemas.microsoft.com/office/drawing/2014/main" id="{6750A408-ED0E-47CF-AC3A-5AD4A6E25CE3}"/>
              </a:ext>
            </a:extLst>
          </p:cNvPr>
          <p:cNvSpPr>
            <a:spLocks noGrp="1"/>
          </p:cNvSpPr>
          <p:nvPr>
            <p:ph type="body" idx="1"/>
          </p:nvPr>
        </p:nvSpPr>
        <p:spPr>
          <a:xfrm>
            <a:off x="411161" y="1414800"/>
            <a:ext cx="7200000" cy="453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ooter Placeholder">
            <a:extLst>
              <a:ext uri="{FF2B5EF4-FFF2-40B4-BE49-F238E27FC236}">
                <a16:creationId xmlns:a16="http://schemas.microsoft.com/office/drawing/2014/main" id="{4F5CAFE5-0972-49AB-B42B-7C613C153AFE}"/>
              </a:ext>
            </a:extLst>
          </p:cNvPr>
          <p:cNvSpPr>
            <a:spLocks noGrp="1"/>
          </p:cNvSpPr>
          <p:nvPr>
            <p:ph type="ftr" sz="quarter" idx="3"/>
          </p:nvPr>
        </p:nvSpPr>
        <p:spPr>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defRPr>
            </a:lvl1pPr>
          </a:lstStyle>
          <a:p>
            <a:r>
              <a:rPr lang="en-US"/>
              <a:t>Restricted | © Siemens 20XX | Author | Department | YYYY-MM-DD</a:t>
            </a:r>
          </a:p>
        </p:txBody>
      </p:sp>
      <p:sp>
        <p:nvSpPr>
          <p:cNvPr id="6" name="Slide Number Placeholder">
            <a:extLst>
              <a:ext uri="{FF2B5EF4-FFF2-40B4-BE49-F238E27FC236}">
                <a16:creationId xmlns:a16="http://schemas.microsoft.com/office/drawing/2014/main" id="{1C051FD7-F65C-4306-9083-C9770A0AF2DF}"/>
              </a:ext>
            </a:extLst>
          </p:cNvPr>
          <p:cNvSpPr>
            <a:spLocks noGrp="1"/>
          </p:cNvSpPr>
          <p:nvPr>
            <p:ph type="sldNum" sz="quarter" idx="4"/>
          </p:nvPr>
        </p:nvSpPr>
        <p:spPr>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defRPr>
            </a:lvl1pPr>
          </a:lstStyle>
          <a:p>
            <a:r>
              <a:rPr lang="en-US"/>
              <a:t>Page </a:t>
            </a:r>
            <a:fld id="{15EBE321-CBB1-4E91-BD14-37C8D44326FB}" type="slidenum">
              <a:rPr lang="en-US" smtClean="0"/>
              <a:pPr/>
              <a:t>‹nr.›</a:t>
            </a:fld>
            <a:endParaRPr lang="en-US"/>
          </a:p>
        </p:txBody>
      </p:sp>
    </p:spTree>
    <p:extLst>
      <p:ext uri="{BB962C8B-B14F-4D97-AF65-F5344CB8AC3E}">
        <p14:creationId xmlns:p14="http://schemas.microsoft.com/office/powerpoint/2010/main" val="45892251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9" r:id="rId55"/>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3"/>
            </p:custDataLst>
            <p:extLst>
              <p:ext uri="{D42A27DB-BD31-4B8C-83A1-F6EECF244321}">
                <p14:modId xmlns:p14="http://schemas.microsoft.com/office/powerpoint/2010/main" val="3074732487"/>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63" imgW="270" imgH="270" progId="TCLayout.ActiveDocument.1">
                  <p:embed/>
                </p:oleObj>
              </mc:Choice>
              <mc:Fallback>
                <p:oleObj name="think-cell Folie" r:id="rId63" imgW="270" imgH="270" progId="TCLayout.ActiveDocument.1">
                  <p:embed/>
                  <p:pic>
                    <p:nvPicPr>
                      <p:cNvPr id="2" name="Objekt 1" hidden="1"/>
                      <p:cNvPicPr/>
                      <p:nvPr/>
                    </p:nvPicPr>
                    <p:blipFill>
                      <a:blip r:embed="rId64"/>
                      <a:stretch>
                        <a:fillRect/>
                      </a:stretch>
                    </p:blipFill>
                    <p:spPr>
                      <a:xfrm>
                        <a:off x="1588" y="1589"/>
                        <a:ext cx="1586" cy="1587"/>
                      </a:xfrm>
                      <a:prstGeom prst="rect">
                        <a:avLst/>
                      </a:prstGeom>
                    </p:spPr>
                  </p:pic>
                </p:oleObj>
              </mc:Fallback>
            </mc:AlternateContent>
          </a:graphicData>
        </a:graphic>
      </p:graphicFrame>
      <p:sp>
        <p:nvSpPr>
          <p:cNvPr id="3078" name="cdtRectangle 115 Id3078"/>
          <p:cNvSpPr>
            <a:spLocks noGrp="1" noChangeArrowheads="1"/>
          </p:cNvSpPr>
          <p:nvPr>
            <p:ph type="title"/>
            <p:custDataLst>
              <p:tags r:id="rId34"/>
            </p:custDataLst>
          </p:nvPr>
        </p:nvSpPr>
        <p:spPr bwMode="auto">
          <a:xfrm>
            <a:off x="0" y="-1"/>
            <a:ext cx="12192000" cy="1440000"/>
          </a:xfrm>
          <a:prstGeom prst="rect">
            <a:avLst/>
          </a:prstGeom>
          <a:noFill/>
          <a:ln w="9525">
            <a:noFill/>
            <a:miter lim="800000"/>
            <a:headEnd/>
            <a:tailEnd/>
          </a:ln>
        </p:spPr>
        <p:txBody>
          <a:bodyPr vert="horz" wrap="square" lIns="626400" tIns="432000" rIns="3384000" bIns="234000" numCol="1" anchor="t" anchorCtr="0" compatLnSpc="1">
            <a:prstTxWarp prst="textNoShape">
              <a:avLst/>
            </a:prstTxWarp>
          </a:bodyPr>
          <a:lstStyle/>
          <a:p>
            <a:pPr lvl="0"/>
            <a:r>
              <a:rPr lang="en-US" noProof="0"/>
              <a:t>Mastertitelformat bearbeiten</a:t>
            </a:r>
          </a:p>
        </p:txBody>
      </p:sp>
      <p:sp>
        <p:nvSpPr>
          <p:cNvPr id="3079" name="cdtRectangle 116 Id3079"/>
          <p:cNvSpPr>
            <a:spLocks noGrp="1" noChangeArrowheads="1"/>
          </p:cNvSpPr>
          <p:nvPr>
            <p:ph type="body" idx="1"/>
            <p:custDataLst>
              <p:tags r:id="rId35"/>
            </p:custDataLst>
          </p:nvPr>
        </p:nvSpPr>
        <p:spPr bwMode="auto">
          <a:xfrm>
            <a:off x="626736" y="1443038"/>
            <a:ext cx="8204689" cy="4750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a:t>Mastertext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cxnSp>
        <p:nvCxnSpPr>
          <p:cNvPr id="3072" name="cdtMasterTags_CL1 Id3072"/>
          <p:cNvCxnSpPr/>
          <p:nvPr>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59"/>
            </p:custDataLst>
          </p:nvPr>
        </p:nvSpPr>
        <p:spPr bwMode="auto">
          <a:xfrm>
            <a:off x="0" y="6200775"/>
            <a:ext cx="12192000" cy="396875"/>
          </a:xfrm>
          <a:prstGeom prst="rect">
            <a:avLst/>
          </a:prstGeom>
          <a:noFill/>
          <a:ln w="9525">
            <a:noFill/>
            <a:miter lim="800000"/>
            <a:headEnd/>
            <a:tailEnd/>
          </a:ln>
          <a:effectLst/>
        </p:spPr>
        <p:txBody>
          <a:bodyPr lIns="626074" tIns="143925" rIns="3209528" bIns="0" anchor="ctr"/>
          <a:lstStyle/>
          <a:p>
            <a:r>
              <a:rPr lang="en-US" sz="999" b="1" noProof="0">
                <a:solidFill>
                  <a:srgbClr val="879BAA"/>
                </a:solidFill>
              </a:rPr>
              <a:t>Unrestricted © Siemens 2020</a:t>
            </a:r>
          </a:p>
        </p:txBody>
      </p:sp>
      <p:sp>
        <p:nvSpPr>
          <p:cNvPr id="64" name="cdtTextBox 12 Id17"/>
          <p:cNvSpPr txBox="1"/>
          <p:nvPr>
            <p:custDataLst>
              <p:tags r:id="rId60"/>
            </p:custDataLst>
          </p:nvPr>
        </p:nvSpPr>
        <p:spPr>
          <a:xfrm>
            <a:off x="0" y="6597650"/>
            <a:ext cx="3930183" cy="260350"/>
          </a:xfrm>
          <a:prstGeom prst="rect">
            <a:avLst/>
          </a:prstGeom>
          <a:noFill/>
        </p:spPr>
        <p:txBody>
          <a:bodyPr wrap="square" lIns="1907007" tIns="0" rIns="0" bIns="115140" rtlCol="0">
            <a:noAutofit/>
          </a:bodyPr>
          <a:lstStyle/>
          <a:p>
            <a:pPr>
              <a:lnSpc>
                <a:spcPct val="110000"/>
              </a:lnSpc>
              <a:spcBef>
                <a:spcPts val="0"/>
              </a:spcBef>
            </a:pPr>
            <a:endParaRPr lang="en-US" sz="999" noProof="0">
              <a:solidFill>
                <a:srgbClr val="000000"/>
              </a:solidFill>
            </a:endParaRPr>
          </a:p>
        </p:txBody>
      </p:sp>
      <p:sp>
        <p:nvSpPr>
          <p:cNvPr id="65" name="cdtTextBox 11 Id18"/>
          <p:cNvSpPr txBox="1"/>
          <p:nvPr userDrawn="1">
            <p:custDataLst>
              <p:tags r:id="rId61"/>
            </p:custDataLst>
          </p:nvPr>
        </p:nvSpPr>
        <p:spPr>
          <a:xfrm>
            <a:off x="1" y="6597650"/>
            <a:ext cx="1764366" cy="260350"/>
          </a:xfrm>
          <a:prstGeom prst="rect">
            <a:avLst/>
          </a:prstGeom>
          <a:noFill/>
        </p:spPr>
        <p:txBody>
          <a:bodyPr wrap="square" lIns="626074" tIns="0" rIns="0" bIns="115140" rtlCol="0" anchor="t" anchorCtr="0">
            <a:noAutofit/>
          </a:bodyPr>
          <a:lstStyle/>
          <a:p>
            <a:pPr>
              <a:lnSpc>
                <a:spcPct val="110000"/>
              </a:lnSpc>
              <a:spcBef>
                <a:spcPts val="0"/>
              </a:spcBef>
            </a:pPr>
            <a:r>
              <a:rPr lang="en-US" sz="999" noProof="0">
                <a:solidFill>
                  <a:srgbClr val="000000"/>
                </a:solidFill>
              </a:rPr>
              <a:t>Page </a:t>
            </a:r>
            <a:fld id="{91E7552C-A157-4A4F-8E99-698C0325FC94}" type="slidenum">
              <a:rPr lang="en-US" sz="999" noProof="0" smtClean="0">
                <a:solidFill>
                  <a:srgbClr val="000000"/>
                </a:solidFill>
              </a:rPr>
              <a:pPr>
                <a:lnSpc>
                  <a:spcPct val="110000"/>
                </a:lnSpc>
                <a:spcBef>
                  <a:spcPts val="0"/>
                </a:spcBef>
              </a:pPr>
              <a:t>‹nr.›</a:t>
            </a:fld>
            <a:endParaRPr lang="en-US" sz="999" noProof="0">
              <a:solidFill>
                <a:srgbClr val="000000"/>
              </a:solidFill>
            </a:endParaRPr>
          </a:p>
        </p:txBody>
      </p:sp>
      <p:sp>
        <p:nvSpPr>
          <p:cNvPr id="66" name="cdtTextBox 13 Id19">
            <a:hlinkClick r:id="rId65"/>
          </p:cNvPr>
          <p:cNvSpPr txBox="1"/>
          <p:nvPr>
            <p:custDataLst>
              <p:tags r:id="rId62"/>
            </p:custDataLst>
          </p:nvPr>
        </p:nvSpPr>
        <p:spPr>
          <a:xfrm>
            <a:off x="9338312" y="6597650"/>
            <a:ext cx="2853687" cy="260350"/>
          </a:xfrm>
          <a:prstGeom prst="rect">
            <a:avLst/>
          </a:prstGeom>
          <a:noFill/>
        </p:spPr>
        <p:txBody>
          <a:bodyPr wrap="square" lIns="0" tIns="0" rIns="482149" bIns="115140" rtlCol="0">
            <a:noAutofit/>
          </a:bodyPr>
          <a:lstStyle/>
          <a:p>
            <a:pPr algn="r">
              <a:lnSpc>
                <a:spcPct val="110000"/>
              </a:lnSpc>
              <a:spcBef>
                <a:spcPts val="0"/>
              </a:spcBef>
            </a:pPr>
            <a:r>
              <a:rPr lang="en-US" sz="999" noProof="0">
                <a:solidFill>
                  <a:srgbClr val="000000"/>
                </a:solidFill>
              </a:rPr>
              <a:t>siemens.com/sitrain</a:t>
            </a:r>
          </a:p>
        </p:txBody>
      </p:sp>
      <p:grpSp>
        <p:nvGrpSpPr>
          <p:cNvPr id="67" name="Gruppieren 66"/>
          <p:cNvGrpSpPr/>
          <p:nvPr/>
        </p:nvGrpSpPr>
        <p:grpSpPr>
          <a:xfrm>
            <a:off x="-215888" y="-216000"/>
            <a:ext cx="12622226" cy="72900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5" name="Group 33"/>
          <p:cNvGrpSpPr>
            <a:grpSpLocks noChangeAspect="1"/>
          </p:cNvGrpSpPr>
          <p:nvPr userDrawn="1"/>
        </p:nvGrpSpPr>
        <p:grpSpPr bwMode="gray">
          <a:xfrm>
            <a:off x="9550189" y="323850"/>
            <a:ext cx="2157876" cy="914400"/>
            <a:chOff x="6019" y="204"/>
            <a:chExt cx="1360" cy="576"/>
          </a:xfrm>
        </p:grpSpPr>
        <p:sp>
          <p:nvSpPr>
            <p:cNvPr id="56"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7"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8"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59"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60"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61"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62"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90"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91"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92"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93"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94"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95"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96"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97"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98"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99"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100"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101"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102"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103"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104"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105"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106"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107"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108"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109"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pic>
        <p:nvPicPr>
          <p:cNvPr id="110" name="Picture 109" descr="Image result for coca cola logo">
            <a:extLst>
              <a:ext uri="{FF2B5EF4-FFF2-40B4-BE49-F238E27FC236}">
                <a16:creationId xmlns:a16="http://schemas.microsoft.com/office/drawing/2014/main" id="{CDFECFB2-8A22-48FF-871D-AF1877910882}"/>
              </a:ext>
            </a:extLst>
          </p:cNvPr>
          <p:cNvPicPr>
            <a:picLocks noChangeAspect="1" noChangeArrowheads="1"/>
          </p:cNvPicPr>
          <p:nvPr userDrawn="1"/>
        </p:nvPicPr>
        <p:blipFill>
          <a:blip r:embed="rId66" cstate="screen">
            <a:extLst>
              <a:ext uri="{28A0092B-C50C-407E-A947-70E740481C1C}">
                <a14:useLocalDpi xmlns:a14="http://schemas.microsoft.com/office/drawing/2010/main"/>
              </a:ext>
            </a:extLst>
          </a:blip>
          <a:srcRect/>
          <a:stretch>
            <a:fillRect/>
          </a:stretch>
        </p:blipFill>
        <p:spPr bwMode="auto">
          <a:xfrm>
            <a:off x="8755936" y="523048"/>
            <a:ext cx="847562" cy="28111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32"/>
    </p:custDataLst>
    <p:extLst>
      <p:ext uri="{BB962C8B-B14F-4D97-AF65-F5344CB8AC3E}">
        <p14:creationId xmlns:p14="http://schemas.microsoft.com/office/powerpoint/2010/main" val="2369070981"/>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Lst>
  <p:hf hdr="0" ftr="0" dt="0"/>
  <p:txStyles>
    <p:titleStyle>
      <a:lvl1pPr algn="l" rtl="0" eaLnBrk="1" fontAlgn="base" hangingPunct="1">
        <a:spcBef>
          <a:spcPct val="0"/>
        </a:spcBef>
        <a:spcAft>
          <a:spcPct val="0"/>
        </a:spcAft>
        <a:defRPr sz="2199"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1999" b="1">
          <a:solidFill>
            <a:schemeClr val="tx1"/>
          </a:solidFill>
          <a:latin typeface="Arial" charset="0"/>
          <a:ea typeface="ＭＳ Ｐゴシック" charset="-128"/>
        </a:defRPr>
      </a:lvl2pPr>
      <a:lvl3pPr algn="l" rtl="0" eaLnBrk="1" fontAlgn="base" hangingPunct="1">
        <a:spcBef>
          <a:spcPct val="0"/>
        </a:spcBef>
        <a:spcAft>
          <a:spcPct val="0"/>
        </a:spcAft>
        <a:defRPr sz="1999" b="1">
          <a:solidFill>
            <a:schemeClr val="tx1"/>
          </a:solidFill>
          <a:latin typeface="Arial" charset="0"/>
          <a:ea typeface="ＭＳ Ｐゴシック" charset="-128"/>
        </a:defRPr>
      </a:lvl3pPr>
      <a:lvl4pPr algn="l" rtl="0" eaLnBrk="1" fontAlgn="base" hangingPunct="1">
        <a:spcBef>
          <a:spcPct val="0"/>
        </a:spcBef>
        <a:spcAft>
          <a:spcPct val="0"/>
        </a:spcAft>
        <a:defRPr sz="1999" b="1">
          <a:solidFill>
            <a:schemeClr val="tx1"/>
          </a:solidFill>
          <a:latin typeface="Arial" charset="0"/>
          <a:ea typeface="ＭＳ Ｐゴシック" charset="-128"/>
        </a:defRPr>
      </a:lvl4pPr>
      <a:lvl5pPr algn="l" rtl="0" eaLnBrk="1" fontAlgn="base" hangingPunct="1">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p:titleStyle>
    <p:bodyStyle>
      <a:lvl1pPr marL="0" indent="0" algn="l" rtl="0" eaLnBrk="1" fontAlgn="base" hangingPunct="1">
        <a:lnSpc>
          <a:spcPct val="100000"/>
        </a:lnSpc>
        <a:spcBef>
          <a:spcPts val="3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2pPr>
      <a:lvl3pPr marL="358596"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3pPr>
      <a:lvl4pPr marL="537894" indent="-17991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4pPr>
      <a:lvl5pPr marL="719640" indent="-179910" algn="l" rtl="0" eaLnBrk="1" fontAlgn="base" hangingPunct="1">
        <a:lnSpc>
          <a:spcPct val="100000"/>
        </a:lnSpc>
        <a:spcBef>
          <a:spcPts val="30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p:bodyStyle>
    <p:otherStyle>
      <a:defPPr>
        <a:defRPr lang="de-DE"/>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E9E50DA-0404-4CD5-AE24-D90CA134381C}"/>
              </a:ext>
            </a:extLst>
          </p:cNvPr>
          <p:cNvGraphicFramePr>
            <a:graphicFrameLocks noChangeAspect="1"/>
          </p:cNvGraphicFramePr>
          <p:nvPr userDrawn="1">
            <p:custDataLst>
              <p:tags r:id="rId8"/>
            </p:custDataLst>
            <p:extLst>
              <p:ext uri="{D42A27DB-BD31-4B8C-83A1-F6EECF244321}">
                <p14:modId xmlns:p14="http://schemas.microsoft.com/office/powerpoint/2010/main" val="2964362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53" imgH="353" progId="TCLayout.ActiveDocument.1">
                  <p:embed/>
                </p:oleObj>
              </mc:Choice>
              <mc:Fallback>
                <p:oleObj name="think-cell Slide" r:id="rId9" imgW="353" imgH="353" progId="TCLayout.ActiveDocument.1">
                  <p:embed/>
                  <p:pic>
                    <p:nvPicPr>
                      <p:cNvPr id="7" name="Object 6" hidden="1">
                        <a:extLst>
                          <a:ext uri="{FF2B5EF4-FFF2-40B4-BE49-F238E27FC236}">
                            <a16:creationId xmlns:a16="http://schemas.microsoft.com/office/drawing/2014/main" id="{5E9E50DA-0404-4CD5-AE24-D90CA134381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a:extLst>
              <a:ext uri="{FF2B5EF4-FFF2-40B4-BE49-F238E27FC236}">
                <a16:creationId xmlns:a16="http://schemas.microsoft.com/office/drawing/2014/main" id="{2500D031-E8B7-42AD-B616-57A243A31EFA}"/>
              </a:ext>
            </a:extLst>
          </p:cNvPr>
          <p:cNvSpPr>
            <a:spLocks noGrp="1"/>
          </p:cNvSpPr>
          <p:nvPr>
            <p:ph type="title"/>
          </p:nvPr>
        </p:nvSpPr>
        <p:spPr bwMode="black">
          <a:xfrm>
            <a:off x="410400" y="478800"/>
            <a:ext cx="9863997" cy="576000"/>
          </a:xfrm>
          <a:prstGeom prst="rect">
            <a:avLst/>
          </a:prstGeom>
        </p:spPr>
        <p:txBody>
          <a:bodyPr vert="horz" lIns="0" tIns="0" rIns="324000" bIns="14400" rtlCol="0" anchor="t" anchorCtr="0">
            <a:noAutofit/>
          </a:bodyPr>
          <a:lstStyle/>
          <a:p>
            <a:r>
              <a:rPr lang="en-US"/>
              <a:t>Click to edit Master title style</a:t>
            </a:r>
          </a:p>
        </p:txBody>
      </p:sp>
      <p:sp>
        <p:nvSpPr>
          <p:cNvPr id="3" name="Text Placeholder">
            <a:extLst>
              <a:ext uri="{FF2B5EF4-FFF2-40B4-BE49-F238E27FC236}">
                <a16:creationId xmlns:a16="http://schemas.microsoft.com/office/drawing/2014/main" id="{6750A408-ED0E-47CF-AC3A-5AD4A6E25CE3}"/>
              </a:ext>
            </a:extLst>
          </p:cNvPr>
          <p:cNvSpPr>
            <a:spLocks noGrp="1"/>
          </p:cNvSpPr>
          <p:nvPr>
            <p:ph type="body" idx="1"/>
          </p:nvPr>
        </p:nvSpPr>
        <p:spPr bwMode="black">
          <a:xfrm>
            <a:off x="411161" y="1414800"/>
            <a:ext cx="7200000" cy="453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ooter Placeholder">
            <a:extLst>
              <a:ext uri="{FF2B5EF4-FFF2-40B4-BE49-F238E27FC236}">
                <a16:creationId xmlns:a16="http://schemas.microsoft.com/office/drawing/2014/main" id="{4F5CAFE5-0972-49AB-B42B-7C613C153AFE}"/>
              </a:ext>
            </a:extLst>
          </p:cNvPr>
          <p:cNvSpPr>
            <a:spLocks noGrp="1"/>
          </p:cNvSpPr>
          <p:nvPr>
            <p:ph type="ftr" sz="quarter" idx="3"/>
          </p:nvPr>
        </p:nvSpPr>
        <p:spPr bwMode="black">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defRPr>
            </a:lvl1pPr>
          </a:lstStyle>
          <a:p>
            <a:r>
              <a:rPr lang="en-US"/>
              <a:t>Restricted | © Siemens 2021 | Sitrain Vertical Strategy | L. Uebler | December 2021</a:t>
            </a:r>
          </a:p>
        </p:txBody>
      </p:sp>
      <p:sp>
        <p:nvSpPr>
          <p:cNvPr id="6" name="Slide Number Placeholder">
            <a:extLst>
              <a:ext uri="{FF2B5EF4-FFF2-40B4-BE49-F238E27FC236}">
                <a16:creationId xmlns:a16="http://schemas.microsoft.com/office/drawing/2014/main" id="{1C051FD7-F65C-4306-9083-C9770A0AF2DF}"/>
              </a:ext>
            </a:extLst>
          </p:cNvPr>
          <p:cNvSpPr>
            <a:spLocks noGrp="1"/>
          </p:cNvSpPr>
          <p:nvPr>
            <p:ph type="sldNum" sz="quarter" idx="4"/>
          </p:nvPr>
        </p:nvSpPr>
        <p:spPr bwMode="black">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defRPr>
            </a:lvl1pPr>
          </a:lstStyle>
          <a:p>
            <a:r>
              <a:rPr lang="en-US"/>
              <a:t>Page </a:t>
            </a:r>
            <a:fld id="{15EBE321-CBB1-4E91-BD14-37C8D44326FB}" type="slidenum">
              <a:rPr lang="en-US" smtClean="0"/>
              <a:pPr/>
              <a:t>‹nr.›</a:t>
            </a:fld>
            <a:endParaRPr lang="en-US"/>
          </a:p>
        </p:txBody>
      </p:sp>
    </p:spTree>
    <p:extLst>
      <p:ext uri="{BB962C8B-B14F-4D97-AF65-F5344CB8AC3E}">
        <p14:creationId xmlns:p14="http://schemas.microsoft.com/office/powerpoint/2010/main" val="2371490930"/>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2500D031-E8B7-42AD-B616-57A243A31EFA}"/>
              </a:ext>
            </a:extLst>
          </p:cNvPr>
          <p:cNvSpPr>
            <a:spLocks noGrp="1"/>
          </p:cNvSpPr>
          <p:nvPr>
            <p:ph type="title"/>
          </p:nvPr>
        </p:nvSpPr>
        <p:spPr bwMode="black">
          <a:xfrm>
            <a:off x="410400" y="478800"/>
            <a:ext cx="9863997" cy="576000"/>
          </a:xfrm>
          <a:prstGeom prst="rect">
            <a:avLst/>
          </a:prstGeom>
        </p:spPr>
        <p:txBody>
          <a:bodyPr vert="horz" lIns="0" tIns="0" rIns="324000" bIns="14400" rtlCol="0" anchor="t" anchorCtr="0">
            <a:noAutofit/>
          </a:bodyPr>
          <a:lstStyle/>
          <a:p>
            <a:r>
              <a:rPr lang="de-DE"/>
              <a:t>Mastertitelformat bearbeiten</a:t>
            </a:r>
            <a:endParaRPr lang="en-US"/>
          </a:p>
        </p:txBody>
      </p:sp>
      <p:sp>
        <p:nvSpPr>
          <p:cNvPr id="3" name="Text Placeholder">
            <a:extLst>
              <a:ext uri="{FF2B5EF4-FFF2-40B4-BE49-F238E27FC236}">
                <a16:creationId xmlns:a16="http://schemas.microsoft.com/office/drawing/2014/main" id="{6750A408-ED0E-47CF-AC3A-5AD4A6E25CE3}"/>
              </a:ext>
            </a:extLst>
          </p:cNvPr>
          <p:cNvSpPr>
            <a:spLocks noGrp="1"/>
          </p:cNvSpPr>
          <p:nvPr>
            <p:ph type="body" idx="1"/>
          </p:nvPr>
        </p:nvSpPr>
        <p:spPr bwMode="black">
          <a:xfrm>
            <a:off x="411161" y="1414800"/>
            <a:ext cx="7200000" cy="4536000"/>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a:extLst>
              <a:ext uri="{FF2B5EF4-FFF2-40B4-BE49-F238E27FC236}">
                <a16:creationId xmlns:a16="http://schemas.microsoft.com/office/drawing/2014/main" id="{4F5CAFE5-0972-49AB-B42B-7C613C153AFE}"/>
              </a:ext>
            </a:extLst>
          </p:cNvPr>
          <p:cNvSpPr>
            <a:spLocks noGrp="1"/>
          </p:cNvSpPr>
          <p:nvPr>
            <p:ph type="ftr" sz="quarter" idx="3"/>
          </p:nvPr>
        </p:nvSpPr>
        <p:spPr bwMode="black">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defRPr>
            </a:lvl1pPr>
          </a:lstStyle>
          <a:p>
            <a:r>
              <a:rPr lang="en-US"/>
              <a:t>Restricted | © Siemens 2022 | L. Uebler | DI CS SD CSS KMT | 2022-02-22</a:t>
            </a:r>
          </a:p>
        </p:txBody>
      </p:sp>
      <p:sp>
        <p:nvSpPr>
          <p:cNvPr id="6" name="Slide Number Placeholder">
            <a:extLst>
              <a:ext uri="{FF2B5EF4-FFF2-40B4-BE49-F238E27FC236}">
                <a16:creationId xmlns:a16="http://schemas.microsoft.com/office/drawing/2014/main" id="{1C051FD7-F65C-4306-9083-C9770A0AF2DF}"/>
              </a:ext>
            </a:extLst>
          </p:cNvPr>
          <p:cNvSpPr>
            <a:spLocks noGrp="1"/>
          </p:cNvSpPr>
          <p:nvPr>
            <p:ph type="sldNum" sz="quarter" idx="4"/>
          </p:nvPr>
        </p:nvSpPr>
        <p:spPr bwMode="black">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defRPr>
            </a:lvl1pPr>
          </a:lstStyle>
          <a:p>
            <a:r>
              <a:rPr lang="en-US"/>
              <a:t>Page </a:t>
            </a:r>
            <a:fld id="{15EBE321-CBB1-4E91-BD14-37C8D44326FB}" type="slidenum">
              <a:rPr lang="en-US" smtClean="0"/>
              <a:pPr/>
              <a:t>‹nr.›</a:t>
            </a:fld>
            <a:endParaRPr lang="en-US"/>
          </a:p>
        </p:txBody>
      </p:sp>
    </p:spTree>
    <p:extLst>
      <p:ext uri="{BB962C8B-B14F-4D97-AF65-F5344CB8AC3E}">
        <p14:creationId xmlns:p14="http://schemas.microsoft.com/office/powerpoint/2010/main" val="2169553856"/>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6496351-FC69-4445-99D9-76F4305E2A59}"/>
              </a:ext>
            </a:extLst>
          </p:cNvPr>
          <p:cNvGraphicFramePr>
            <a:graphicFrameLocks noChangeAspect="1"/>
          </p:cNvGraphicFramePr>
          <p:nvPr userDrawn="1">
            <p:custDataLst>
              <p:tags r:id="rId56"/>
            </p:custDataLst>
            <p:extLst>
              <p:ext uri="{D42A27DB-BD31-4B8C-83A1-F6EECF244321}">
                <p14:modId xmlns:p14="http://schemas.microsoft.com/office/powerpoint/2010/main" val="2636756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344" imgH="345" progId="TCLayout.ActiveDocument.1">
                  <p:embed/>
                </p:oleObj>
              </mc:Choice>
              <mc:Fallback>
                <p:oleObj name="think-cell Slide" r:id="rId57" imgW="344" imgH="345" progId="TCLayout.ActiveDocument.1">
                  <p:embed/>
                  <p:pic>
                    <p:nvPicPr>
                      <p:cNvPr id="7" name="Objekt 6" hidden="1">
                        <a:extLst>
                          <a:ext uri="{FF2B5EF4-FFF2-40B4-BE49-F238E27FC236}">
                            <a16:creationId xmlns:a16="http://schemas.microsoft.com/office/drawing/2014/main" id="{96496351-FC69-4445-99D9-76F4305E2A59}"/>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Placeholder">
            <a:extLst>
              <a:ext uri="{FF2B5EF4-FFF2-40B4-BE49-F238E27FC236}">
                <a16:creationId xmlns:a16="http://schemas.microsoft.com/office/drawing/2014/main" id="{2500D031-E8B7-42AD-B616-57A243A31EFA}"/>
              </a:ext>
            </a:extLst>
          </p:cNvPr>
          <p:cNvSpPr>
            <a:spLocks noGrp="1"/>
          </p:cNvSpPr>
          <p:nvPr>
            <p:ph type="title"/>
          </p:nvPr>
        </p:nvSpPr>
        <p:spPr>
          <a:xfrm>
            <a:off x="410400" y="478800"/>
            <a:ext cx="9863997" cy="576000"/>
          </a:xfrm>
          <a:prstGeom prst="rect">
            <a:avLst/>
          </a:prstGeom>
        </p:spPr>
        <p:txBody>
          <a:bodyPr vert="horz" lIns="0" tIns="0" rIns="324000" bIns="14400" rtlCol="0" anchor="t" anchorCtr="0">
            <a:noAutofit/>
          </a:bodyPr>
          <a:lstStyle/>
          <a:p>
            <a:r>
              <a:rPr lang="de-DE"/>
              <a:t>Mastertitelformat bearbeiten</a:t>
            </a:r>
            <a:endParaRPr lang="en-US"/>
          </a:p>
        </p:txBody>
      </p:sp>
      <p:sp>
        <p:nvSpPr>
          <p:cNvPr id="3" name="Text Placeholder">
            <a:extLst>
              <a:ext uri="{FF2B5EF4-FFF2-40B4-BE49-F238E27FC236}">
                <a16:creationId xmlns:a16="http://schemas.microsoft.com/office/drawing/2014/main" id="{6750A408-ED0E-47CF-AC3A-5AD4A6E25CE3}"/>
              </a:ext>
            </a:extLst>
          </p:cNvPr>
          <p:cNvSpPr>
            <a:spLocks noGrp="1"/>
          </p:cNvSpPr>
          <p:nvPr>
            <p:ph type="body" idx="1"/>
          </p:nvPr>
        </p:nvSpPr>
        <p:spPr>
          <a:xfrm>
            <a:off x="411161" y="1414800"/>
            <a:ext cx="7200000" cy="4536000"/>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a:extLst>
              <a:ext uri="{FF2B5EF4-FFF2-40B4-BE49-F238E27FC236}">
                <a16:creationId xmlns:a16="http://schemas.microsoft.com/office/drawing/2014/main" id="{4F5CAFE5-0972-49AB-B42B-7C613C153AFE}"/>
              </a:ext>
            </a:extLst>
          </p:cNvPr>
          <p:cNvSpPr>
            <a:spLocks noGrp="1"/>
          </p:cNvSpPr>
          <p:nvPr>
            <p:ph type="ftr" sz="quarter" idx="3"/>
          </p:nvPr>
        </p:nvSpPr>
        <p:spPr>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defRPr>
            </a:lvl1pPr>
          </a:lstStyle>
          <a:p>
            <a:r>
              <a:rPr lang="it-IT" err="1"/>
              <a:t>Confidential</a:t>
            </a:r>
            <a:r>
              <a:rPr lang="it-IT"/>
              <a:t> | © Siemens 2021 | DI CS FA - </a:t>
            </a:r>
            <a:r>
              <a:rPr lang="it-IT" err="1"/>
              <a:t>IBase</a:t>
            </a:r>
            <a:r>
              <a:rPr lang="it-IT"/>
              <a:t> Data </a:t>
            </a:r>
            <a:r>
              <a:rPr lang="it-IT" err="1"/>
              <a:t>Driven</a:t>
            </a:r>
            <a:r>
              <a:rPr lang="it-IT"/>
              <a:t> Business </a:t>
            </a:r>
            <a:r>
              <a:rPr lang="it-IT" err="1"/>
              <a:t>Growth</a:t>
            </a:r>
            <a:endParaRPr lang="en-US"/>
          </a:p>
        </p:txBody>
      </p:sp>
      <p:sp>
        <p:nvSpPr>
          <p:cNvPr id="6" name="Slide Number Placeholder">
            <a:extLst>
              <a:ext uri="{FF2B5EF4-FFF2-40B4-BE49-F238E27FC236}">
                <a16:creationId xmlns:a16="http://schemas.microsoft.com/office/drawing/2014/main" id="{1C051FD7-F65C-4306-9083-C9770A0AF2DF}"/>
              </a:ext>
            </a:extLst>
          </p:cNvPr>
          <p:cNvSpPr>
            <a:spLocks noGrp="1"/>
          </p:cNvSpPr>
          <p:nvPr>
            <p:ph type="sldNum" sz="quarter" idx="4"/>
          </p:nvPr>
        </p:nvSpPr>
        <p:spPr>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defRPr>
            </a:lvl1pPr>
          </a:lstStyle>
          <a:p>
            <a:r>
              <a:rPr lang="en-US"/>
              <a:t>Page </a:t>
            </a:r>
            <a:fld id="{15EBE321-CBB1-4E91-BD14-37C8D44326FB}" type="slidenum">
              <a:rPr lang="en-US" smtClean="0"/>
              <a:pPr/>
              <a:t>‹nr.›</a:t>
            </a:fld>
            <a:endParaRPr lang="en-US"/>
          </a:p>
        </p:txBody>
      </p:sp>
    </p:spTree>
    <p:extLst>
      <p:ext uri="{BB962C8B-B14F-4D97-AF65-F5344CB8AC3E}">
        <p14:creationId xmlns:p14="http://schemas.microsoft.com/office/powerpoint/2010/main" val="1663467206"/>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 id="2147483790" r:id="rId23"/>
    <p:sldLayoutId id="2147483791" r:id="rId24"/>
    <p:sldLayoutId id="2147483792" r:id="rId25"/>
    <p:sldLayoutId id="2147483793" r:id="rId26"/>
    <p:sldLayoutId id="2147483794" r:id="rId27"/>
    <p:sldLayoutId id="2147483795" r:id="rId28"/>
    <p:sldLayoutId id="2147483796" r:id="rId29"/>
    <p:sldLayoutId id="2147483797" r:id="rId30"/>
    <p:sldLayoutId id="2147483798" r:id="rId31"/>
    <p:sldLayoutId id="2147483799" r:id="rId32"/>
    <p:sldLayoutId id="2147483800" r:id="rId33"/>
    <p:sldLayoutId id="2147483801" r:id="rId34"/>
    <p:sldLayoutId id="2147483802" r:id="rId35"/>
    <p:sldLayoutId id="2147483803" r:id="rId36"/>
    <p:sldLayoutId id="2147483804" r:id="rId37"/>
    <p:sldLayoutId id="2147483805" r:id="rId38"/>
    <p:sldLayoutId id="2147483806" r:id="rId39"/>
    <p:sldLayoutId id="2147483807" r:id="rId40"/>
    <p:sldLayoutId id="2147483808" r:id="rId41"/>
    <p:sldLayoutId id="2147483809" r:id="rId42"/>
    <p:sldLayoutId id="2147483810" r:id="rId43"/>
    <p:sldLayoutId id="2147483811" r:id="rId44"/>
    <p:sldLayoutId id="2147483812" r:id="rId45"/>
    <p:sldLayoutId id="2147483813" r:id="rId46"/>
    <p:sldLayoutId id="2147483814" r:id="rId47"/>
    <p:sldLayoutId id="2147483815" r:id="rId48"/>
    <p:sldLayoutId id="2147483816" r:id="rId49"/>
    <p:sldLayoutId id="2147483817" r:id="rId50"/>
    <p:sldLayoutId id="2147483818" r:id="rId51"/>
    <p:sldLayoutId id="2147483819" r:id="rId52"/>
    <p:sldLayoutId id="2147483820" r:id="rId53"/>
    <p:sldLayoutId id="2147483821" r:id="rId54"/>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37.emf"/><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oleObject" Target="../embeddings/oleObject6.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0.xml"/><Relationship Id="rId1" Type="http://schemas.openxmlformats.org/officeDocument/2006/relationships/tags" Target="../tags/tag130.xml"/><Relationship Id="rId5" Type="http://schemas.openxmlformats.org/officeDocument/2006/relationships/image" Target="../media/image30.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notesSlide" Target="../notesSlides/notesSlide9.xml"/><Relationship Id="rId7" Type="http://schemas.openxmlformats.org/officeDocument/2006/relationships/image" Target="../media/image55.jpeg"/><Relationship Id="rId2" Type="http://schemas.openxmlformats.org/officeDocument/2006/relationships/slideLayout" Target="../slideLayouts/slideLayout40.xml"/><Relationship Id="rId1" Type="http://schemas.openxmlformats.org/officeDocument/2006/relationships/tags" Target="../tags/tag131.xml"/><Relationship Id="rId6" Type="http://schemas.openxmlformats.org/officeDocument/2006/relationships/image" Target="../media/image54.png"/><Relationship Id="rId5" Type="http://schemas.openxmlformats.org/officeDocument/2006/relationships/image" Target="../media/image30.emf"/><Relationship Id="rId4" Type="http://schemas.openxmlformats.org/officeDocument/2006/relationships/oleObject" Target="../embeddings/oleObject11.bin"/><Relationship Id="rId9" Type="http://schemas.openxmlformats.org/officeDocument/2006/relationships/image" Target="../media/image57.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0.xml"/><Relationship Id="rId1" Type="http://schemas.openxmlformats.org/officeDocument/2006/relationships/tags" Target="../tags/tag132.xml"/><Relationship Id="rId6" Type="http://schemas.openxmlformats.org/officeDocument/2006/relationships/image" Target="../media/image58.png"/><Relationship Id="rId5" Type="http://schemas.openxmlformats.org/officeDocument/2006/relationships/image" Target="../media/image30.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1.xml"/><Relationship Id="rId1" Type="http://schemas.openxmlformats.org/officeDocument/2006/relationships/slideLayout" Target="../slideLayouts/slideLayout32.xml"/><Relationship Id="rId5" Type="http://schemas.openxmlformats.org/officeDocument/2006/relationships/image" Target="../media/image5.svg"/><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3" Type="http://schemas.openxmlformats.org/officeDocument/2006/relationships/hyperlink" Target="mailto:Meike.debackker@siemens.com" TargetMode="External"/><Relationship Id="rId2" Type="http://schemas.openxmlformats.org/officeDocument/2006/relationships/notesSlide" Target="../notesSlides/notesSlide2.xml"/><Relationship Id="rId1" Type="http://schemas.openxmlformats.org/officeDocument/2006/relationships/slideLayout" Target="../slideLayouts/slideLayout32.xml"/><Relationship Id="rId4" Type="http://schemas.openxmlformats.org/officeDocument/2006/relationships/image" Target="../media/image38.JPG"/></Relationships>
</file>

<file path=ppt/slides/_rels/slide3.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tags" Target="../tags/tag125.xml"/><Relationship Id="rId7" Type="http://schemas.openxmlformats.org/officeDocument/2006/relationships/image" Target="../media/image39.emf"/><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oleObject" Target="../embeddings/oleObject7.bin"/><Relationship Id="rId5" Type="http://schemas.openxmlformats.org/officeDocument/2006/relationships/notesSlide" Target="../notesSlides/notesSlide3.xml"/><Relationship Id="rId4"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8.xml"/><Relationship Id="rId1" Type="http://schemas.openxmlformats.org/officeDocument/2006/relationships/tags" Target="../tags/tag126.xml"/><Relationship Id="rId4" Type="http://schemas.openxmlformats.org/officeDocument/2006/relationships/image" Target="../media/image39.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8.xml"/><Relationship Id="rId1" Type="http://schemas.openxmlformats.org/officeDocument/2006/relationships/tags" Target="../tags/tag127.xml"/><Relationship Id="rId4" Type="http://schemas.openxmlformats.org/officeDocument/2006/relationships/image" Target="../media/image39.emf"/></Relationships>
</file>

<file path=ppt/slides/_rels/slide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4.xml"/><Relationship Id="rId1" Type="http://schemas.openxmlformats.org/officeDocument/2006/relationships/slideLayout" Target="../slideLayouts/slideLayout38.xml"/><Relationship Id="rId6" Type="http://schemas.openxmlformats.org/officeDocument/2006/relationships/hyperlink" Target="https://www.accenture.com/us-en/blogs/business-functions-blog/taking-it-back-to-help-solve-the-growing-waste-problem" TargetMode="External"/><Relationship Id="rId5" Type="http://schemas.openxmlformats.org/officeDocument/2006/relationships/hyperlink" Target="https://www.iea.org/reports/industry" TargetMode="External"/><Relationship Id="rId4" Type="http://schemas.openxmlformats.org/officeDocument/2006/relationships/hyperlink" Target="https://www.mckinsey.de/news/presse/22-01-25-net-zero-transition"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38.xml"/><Relationship Id="rId4" Type="http://schemas.openxmlformats.org/officeDocument/2006/relationships/image" Target="../media/image5.sv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8.xml"/><Relationship Id="rId1" Type="http://schemas.openxmlformats.org/officeDocument/2006/relationships/tags" Target="../tags/tag128.xml"/><Relationship Id="rId5" Type="http://schemas.openxmlformats.org/officeDocument/2006/relationships/image" Target="../media/image39.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8" Type="http://schemas.openxmlformats.org/officeDocument/2006/relationships/image" Target="../media/image43.png"/><Relationship Id="rId13" Type="http://schemas.microsoft.com/office/2007/relationships/hdphoto" Target="../media/hdphoto4.wdp"/><Relationship Id="rId18" Type="http://schemas.openxmlformats.org/officeDocument/2006/relationships/image" Target="../media/image48.png"/><Relationship Id="rId3" Type="http://schemas.openxmlformats.org/officeDocument/2006/relationships/notesSlide" Target="../notesSlides/notesSlide7.xml"/><Relationship Id="rId21" Type="http://schemas.microsoft.com/office/2007/relationships/hdphoto" Target="../media/hdphoto8.wdp"/><Relationship Id="rId7" Type="http://schemas.microsoft.com/office/2007/relationships/hdphoto" Target="../media/hdphoto1.wdp"/><Relationship Id="rId12" Type="http://schemas.openxmlformats.org/officeDocument/2006/relationships/image" Target="../media/image45.png"/><Relationship Id="rId17" Type="http://schemas.microsoft.com/office/2007/relationships/hdphoto" Target="../media/hdphoto6.wdp"/><Relationship Id="rId25" Type="http://schemas.openxmlformats.org/officeDocument/2006/relationships/image" Target="../media/image53.svg"/><Relationship Id="rId2" Type="http://schemas.openxmlformats.org/officeDocument/2006/relationships/slideLayout" Target="../slideLayouts/slideLayout40.xml"/><Relationship Id="rId16" Type="http://schemas.openxmlformats.org/officeDocument/2006/relationships/image" Target="../media/image47.png"/><Relationship Id="rId20" Type="http://schemas.openxmlformats.org/officeDocument/2006/relationships/image" Target="../media/image49.png"/><Relationship Id="rId1" Type="http://schemas.openxmlformats.org/officeDocument/2006/relationships/tags" Target="../tags/tag129.xml"/><Relationship Id="rId6" Type="http://schemas.openxmlformats.org/officeDocument/2006/relationships/image" Target="../media/image42.png"/><Relationship Id="rId11" Type="http://schemas.microsoft.com/office/2007/relationships/hdphoto" Target="../media/hdphoto3.wdp"/><Relationship Id="rId24" Type="http://schemas.openxmlformats.org/officeDocument/2006/relationships/image" Target="../media/image52.png"/><Relationship Id="rId5" Type="http://schemas.openxmlformats.org/officeDocument/2006/relationships/image" Target="../media/image30.emf"/><Relationship Id="rId15" Type="http://schemas.microsoft.com/office/2007/relationships/hdphoto" Target="../media/hdphoto5.wdp"/><Relationship Id="rId23" Type="http://schemas.openxmlformats.org/officeDocument/2006/relationships/image" Target="../media/image51.svg"/><Relationship Id="rId10" Type="http://schemas.openxmlformats.org/officeDocument/2006/relationships/image" Target="../media/image44.png"/><Relationship Id="rId19" Type="http://schemas.microsoft.com/office/2007/relationships/hdphoto" Target="../media/hdphoto7.wdp"/><Relationship Id="rId4" Type="http://schemas.openxmlformats.org/officeDocument/2006/relationships/oleObject" Target="../embeddings/oleObject11.bin"/><Relationship Id="rId9" Type="http://schemas.microsoft.com/office/2007/relationships/hdphoto" Target="../media/hdphoto2.wdp"/><Relationship Id="rId14" Type="http://schemas.openxmlformats.org/officeDocument/2006/relationships/image" Target="../media/image46.png"/><Relationship Id="rId22" Type="http://schemas.openxmlformats.org/officeDocument/2006/relationships/image" Target="../media/image5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241980-CEDD-41A6-9922-401219BF429F}"/>
              </a:ext>
            </a:extLst>
          </p:cNvPr>
          <p:cNvGraphicFramePr>
            <a:graphicFrameLocks noChangeAspect="1"/>
          </p:cNvGraphicFramePr>
          <p:nvPr>
            <p:custDataLst>
              <p:tags r:id="rId2"/>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id="{9A241980-CEDD-41A6-9922-401219BF429F}"/>
                          </a:ext>
                        </a:extLst>
                      </p:cNvPr>
                      <p:cNvPicPr/>
                      <p:nvPr/>
                    </p:nvPicPr>
                    <p:blipFill>
                      <a:blip r:embed="rId7"/>
                      <a:stretch>
                        <a:fillRect/>
                      </a:stretch>
                    </p:blipFill>
                    <p:spPr>
                      <a:xfrm>
                        <a:off x="1587" y="3372"/>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A3E5BB-87D2-4AAD-B8D9-200D7FC598FE}"/>
              </a:ext>
            </a:extLst>
          </p:cNvPr>
          <p:cNvSpPr/>
          <p:nvPr>
            <p:custDataLst>
              <p:tags r:id="rId3"/>
            </p:custDataLst>
          </p:nvPr>
        </p:nvSpPr>
        <p:spPr bwMode="auto">
          <a:xfrm>
            <a:off x="0" y="1785"/>
            <a:ext cx="158667" cy="15866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spcBef>
                <a:spcPct val="0"/>
              </a:spcBef>
            </a:pPr>
            <a:endParaRPr lang="en-US" sz="2199">
              <a:ea typeface="+mj-ea"/>
              <a:cs typeface="Arial" panose="020B0604020202020204" pitchFamily="34" charset="0"/>
              <a:sym typeface="Arial" panose="020B0604020202020204" pitchFamily="34" charset="0"/>
            </a:endParaRPr>
          </a:p>
        </p:txBody>
      </p:sp>
      <p:sp>
        <p:nvSpPr>
          <p:cNvPr id="7" name="Titel 6"/>
          <p:cNvSpPr>
            <a:spLocks noGrp="1"/>
          </p:cNvSpPr>
          <p:nvPr>
            <p:ph type="title"/>
          </p:nvPr>
        </p:nvSpPr>
        <p:spPr>
          <a:xfrm>
            <a:off x="516253" y="1601370"/>
            <a:ext cx="11376788" cy="1723421"/>
          </a:xfrm>
        </p:spPr>
        <p:txBody>
          <a:bodyPr/>
          <a:lstStyle/>
          <a:p>
            <a:r>
              <a:rPr lang="en-US" sz="5400" dirty="0"/>
              <a:t>AI @ Siemens</a:t>
            </a:r>
            <a:br>
              <a:rPr lang="en-US" sz="5400" b="0" dirty="0"/>
            </a:br>
            <a:r>
              <a:rPr lang="en-US" sz="3600" b="0" dirty="0" err="1"/>
              <a:t>Onze</a:t>
            </a:r>
            <a:r>
              <a:rPr lang="en-US" sz="3600" b="0" dirty="0"/>
              <a:t> </a:t>
            </a:r>
            <a:r>
              <a:rPr lang="en-US" sz="3600" b="0" dirty="0" err="1"/>
              <a:t>visie</a:t>
            </a:r>
            <a:r>
              <a:rPr lang="en-US" sz="3600" b="0" dirty="0"/>
              <a:t> op de </a:t>
            </a:r>
            <a:r>
              <a:rPr lang="en-US" sz="3600" b="0" dirty="0" err="1"/>
              <a:t>ontwikkeling</a:t>
            </a:r>
            <a:r>
              <a:rPr lang="en-US" sz="3600" b="0" dirty="0"/>
              <a:t> van AI</a:t>
            </a:r>
            <a:br>
              <a:rPr lang="en-US" b="0" dirty="0"/>
            </a:br>
            <a:endParaRPr lang="en-US" sz="2199" b="0" dirty="0"/>
          </a:p>
        </p:txBody>
      </p:sp>
      <p:sp>
        <p:nvSpPr>
          <p:cNvPr id="5" name="Ondertitel 4">
            <a:extLst>
              <a:ext uri="{FF2B5EF4-FFF2-40B4-BE49-F238E27FC236}">
                <a16:creationId xmlns:a16="http://schemas.microsoft.com/office/drawing/2014/main" id="{6C63CF72-ABDD-83B4-6863-054D64DD59C8}"/>
              </a:ext>
            </a:extLst>
          </p:cNvPr>
          <p:cNvSpPr>
            <a:spLocks noGrp="1"/>
          </p:cNvSpPr>
          <p:nvPr>
            <p:ph type="subTitle" idx="1"/>
          </p:nvPr>
        </p:nvSpPr>
        <p:spPr>
          <a:xfrm>
            <a:off x="411163" y="4712677"/>
            <a:ext cx="11114296" cy="1094398"/>
          </a:xfrm>
        </p:spPr>
        <p:txBody>
          <a:bodyPr/>
          <a:lstStyle/>
          <a:p>
            <a:endParaRPr lang="nl-NL" sz="2400" b="1" dirty="0">
              <a:effectLst>
                <a:outerShdw blurRad="38100" dist="38100" dir="2700000" algn="tl">
                  <a:srgbClr val="000000">
                    <a:alpha val="43137"/>
                  </a:srgbClr>
                </a:outerShdw>
              </a:effectLst>
            </a:endParaRPr>
          </a:p>
        </p:txBody>
      </p:sp>
    </p:spTree>
    <p:custDataLst>
      <p:tags r:id="rId1"/>
    </p:custDataLst>
    <p:extLst>
      <p:ext uri="{BB962C8B-B14F-4D97-AF65-F5344CB8AC3E}">
        <p14:creationId xmlns:p14="http://schemas.microsoft.com/office/powerpoint/2010/main" val="28750179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kt 27"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28" name="Objekt 2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4" name="Title">
            <a:extLst>
              <a:ext uri="{FF2B5EF4-FFF2-40B4-BE49-F238E27FC236}">
                <a16:creationId xmlns:a16="http://schemas.microsoft.com/office/drawing/2014/main" id="{D6B43D63-C144-425A-AF1B-21448C20F9F0}"/>
              </a:ext>
            </a:extLst>
          </p:cNvPr>
          <p:cNvSpPr>
            <a:spLocks noGrp="1"/>
          </p:cNvSpPr>
          <p:nvPr>
            <p:ph type="title"/>
          </p:nvPr>
        </p:nvSpPr>
        <p:spPr>
          <a:xfrm>
            <a:off x="455231" y="544676"/>
            <a:ext cx="9863997" cy="576000"/>
          </a:xfrm>
        </p:spPr>
        <p:txBody>
          <a:bodyPr vert="horz"/>
          <a:lstStyle/>
          <a:p>
            <a:r>
              <a:rPr lang="en-US" dirty="0"/>
              <a:t>AI in </a:t>
            </a:r>
            <a:r>
              <a:rPr lang="en-US" dirty="0" err="1"/>
              <a:t>ons</a:t>
            </a:r>
            <a:r>
              <a:rPr lang="en-US" dirty="0"/>
              <a:t> </a:t>
            </a:r>
            <a:r>
              <a:rPr lang="en-US" dirty="0" err="1"/>
              <a:t>dagelijks</a:t>
            </a:r>
            <a:r>
              <a:rPr lang="en-US" dirty="0"/>
              <a:t> </a:t>
            </a:r>
            <a:r>
              <a:rPr lang="en-US" dirty="0" err="1"/>
              <a:t>leven</a:t>
            </a:r>
            <a:br>
              <a:rPr lang="en-US" dirty="0"/>
            </a:br>
            <a:endParaRPr lang="de-DE" b="0" dirty="0"/>
          </a:p>
        </p:txBody>
      </p:sp>
      <p:sp>
        <p:nvSpPr>
          <p:cNvPr id="8" name="AutoShape 54">
            <a:extLst>
              <a:ext uri="{FF2B5EF4-FFF2-40B4-BE49-F238E27FC236}">
                <a16:creationId xmlns:a16="http://schemas.microsoft.com/office/drawing/2014/main" id="{9E55D3ED-3B4F-A36B-C58A-9224C6E1B28B}"/>
              </a:ext>
            </a:extLst>
          </p:cNvPr>
          <p:cNvSpPr>
            <a:spLocks noChangeArrowheads="1"/>
          </p:cNvSpPr>
          <p:nvPr/>
        </p:nvSpPr>
        <p:spPr bwMode="auto">
          <a:xfrm>
            <a:off x="1399716" y="2121184"/>
            <a:ext cx="3849651" cy="355111"/>
          </a:xfrm>
          <a:prstGeom prst="homePlate">
            <a:avLst>
              <a:gd name="adj" fmla="val 34254"/>
            </a:avLst>
          </a:prstGeom>
          <a:solidFill>
            <a:srgbClr val="333353"/>
          </a:solidFill>
          <a:ln w="0">
            <a:noFill/>
          </a:ln>
          <a:effectLst/>
        </p:spPr>
        <p:txBody>
          <a:bodyPr lIns="143925" tIns="71963" rIns="1799063" bIns="71963" anchor="t" anchorCtr="0"/>
          <a:lstStyle/>
          <a:p>
            <a:pPr>
              <a:tabLst>
                <a:tab pos="0" algn="l"/>
              </a:tabLst>
            </a:pPr>
            <a:r>
              <a:rPr lang="en-US" sz="1399" b="1" dirty="0">
                <a:ea typeface="Arial Unicode MS"/>
              </a:rPr>
              <a:t>Siri, Google Now</a:t>
            </a:r>
          </a:p>
        </p:txBody>
      </p:sp>
      <p:sp>
        <p:nvSpPr>
          <p:cNvPr id="9" name="AutoShape 54">
            <a:extLst>
              <a:ext uri="{FF2B5EF4-FFF2-40B4-BE49-F238E27FC236}">
                <a16:creationId xmlns:a16="http://schemas.microsoft.com/office/drawing/2014/main" id="{5B95750C-0886-9DFB-A2FE-D16075867052}"/>
              </a:ext>
            </a:extLst>
          </p:cNvPr>
          <p:cNvSpPr>
            <a:spLocks noChangeArrowheads="1"/>
          </p:cNvSpPr>
          <p:nvPr/>
        </p:nvSpPr>
        <p:spPr bwMode="auto">
          <a:xfrm>
            <a:off x="1180345" y="4862731"/>
            <a:ext cx="3849651" cy="355111"/>
          </a:xfrm>
          <a:prstGeom prst="homePlate">
            <a:avLst>
              <a:gd name="adj" fmla="val 34254"/>
            </a:avLst>
          </a:prstGeom>
          <a:solidFill>
            <a:srgbClr val="333353"/>
          </a:solidFill>
          <a:ln w="0">
            <a:noFill/>
          </a:ln>
          <a:effectLst/>
        </p:spPr>
        <p:txBody>
          <a:bodyPr lIns="143925" tIns="71963" rIns="1799063" bIns="71963" anchor="t" anchorCtr="0"/>
          <a:lstStyle/>
          <a:p>
            <a:pPr>
              <a:tabLst>
                <a:tab pos="0" algn="l"/>
              </a:tabLst>
            </a:pPr>
            <a:r>
              <a:rPr lang="en-US" sz="1399" b="1" dirty="0">
                <a:ea typeface="Arial Unicode MS"/>
              </a:rPr>
              <a:t>Videogames</a:t>
            </a:r>
          </a:p>
        </p:txBody>
      </p:sp>
      <p:sp>
        <p:nvSpPr>
          <p:cNvPr id="10" name="AutoShape 54">
            <a:extLst>
              <a:ext uri="{FF2B5EF4-FFF2-40B4-BE49-F238E27FC236}">
                <a16:creationId xmlns:a16="http://schemas.microsoft.com/office/drawing/2014/main" id="{9770CD22-9940-D581-03B0-8DB832175D40}"/>
              </a:ext>
            </a:extLst>
          </p:cNvPr>
          <p:cNvSpPr>
            <a:spLocks noChangeArrowheads="1"/>
          </p:cNvSpPr>
          <p:nvPr/>
        </p:nvSpPr>
        <p:spPr bwMode="auto">
          <a:xfrm>
            <a:off x="755400" y="3019297"/>
            <a:ext cx="4036938" cy="355111"/>
          </a:xfrm>
          <a:prstGeom prst="homePlate">
            <a:avLst>
              <a:gd name="adj" fmla="val 34254"/>
            </a:avLst>
          </a:prstGeom>
          <a:solidFill>
            <a:srgbClr val="333353"/>
          </a:solidFill>
          <a:ln w="0">
            <a:noFill/>
          </a:ln>
          <a:effectLst/>
        </p:spPr>
        <p:txBody>
          <a:bodyPr lIns="143925" tIns="71963" rIns="1799063" bIns="71963" anchor="t" anchorCtr="0"/>
          <a:lstStyle/>
          <a:p>
            <a:pPr>
              <a:tabLst>
                <a:tab pos="0" algn="l"/>
              </a:tabLst>
            </a:pPr>
            <a:r>
              <a:rPr lang="en-US" sz="1399" b="1" dirty="0">
                <a:ea typeface="Arial Unicode MS"/>
              </a:rPr>
              <a:t>Waze, Google Maps etc.</a:t>
            </a:r>
          </a:p>
        </p:txBody>
      </p:sp>
      <p:sp>
        <p:nvSpPr>
          <p:cNvPr id="11" name="AutoShape 54">
            <a:extLst>
              <a:ext uri="{FF2B5EF4-FFF2-40B4-BE49-F238E27FC236}">
                <a16:creationId xmlns:a16="http://schemas.microsoft.com/office/drawing/2014/main" id="{D82F445B-F48D-4FC3-3D19-2CD700892B3A}"/>
              </a:ext>
            </a:extLst>
          </p:cNvPr>
          <p:cNvSpPr>
            <a:spLocks noChangeArrowheads="1"/>
          </p:cNvSpPr>
          <p:nvPr/>
        </p:nvSpPr>
        <p:spPr bwMode="auto">
          <a:xfrm>
            <a:off x="745073" y="3914111"/>
            <a:ext cx="4036938" cy="355111"/>
          </a:xfrm>
          <a:prstGeom prst="homePlate">
            <a:avLst>
              <a:gd name="adj" fmla="val 34254"/>
            </a:avLst>
          </a:prstGeom>
          <a:solidFill>
            <a:srgbClr val="333353"/>
          </a:solidFill>
          <a:ln w="0">
            <a:noFill/>
          </a:ln>
          <a:effectLst/>
        </p:spPr>
        <p:txBody>
          <a:bodyPr lIns="143925" tIns="71963" rIns="1799063" bIns="71963" anchor="t" anchorCtr="0"/>
          <a:lstStyle/>
          <a:p>
            <a:pPr>
              <a:tabLst>
                <a:tab pos="0" algn="l"/>
              </a:tabLst>
            </a:pPr>
            <a:r>
              <a:rPr lang="en-US" sz="1399" b="1" dirty="0" err="1">
                <a:ea typeface="Arial Unicode MS"/>
              </a:rPr>
              <a:t>Aankoopvoorspellingen</a:t>
            </a:r>
            <a:endParaRPr lang="en-US" sz="1399" b="1" dirty="0">
              <a:ea typeface="Arial Unicode MS"/>
            </a:endParaRPr>
          </a:p>
        </p:txBody>
      </p:sp>
      <p:sp>
        <p:nvSpPr>
          <p:cNvPr id="12" name="AutoShape 54">
            <a:extLst>
              <a:ext uri="{FF2B5EF4-FFF2-40B4-BE49-F238E27FC236}">
                <a16:creationId xmlns:a16="http://schemas.microsoft.com/office/drawing/2014/main" id="{D8370787-9CD0-728F-28E3-BC36B020467C}"/>
              </a:ext>
            </a:extLst>
          </p:cNvPr>
          <p:cNvSpPr>
            <a:spLocks noChangeArrowheads="1"/>
          </p:cNvSpPr>
          <p:nvPr/>
        </p:nvSpPr>
        <p:spPr bwMode="auto">
          <a:xfrm flipH="1">
            <a:off x="6885168" y="2133404"/>
            <a:ext cx="4374472" cy="365761"/>
          </a:xfrm>
          <a:prstGeom prst="homePlate">
            <a:avLst>
              <a:gd name="adj" fmla="val 36431"/>
            </a:avLst>
          </a:prstGeom>
          <a:solidFill>
            <a:srgbClr val="333353"/>
          </a:solidFill>
          <a:ln w="0">
            <a:noFill/>
          </a:ln>
          <a:effectLst/>
        </p:spPr>
        <p:txBody>
          <a:bodyPr lIns="1799063" tIns="71963" rIns="143925" bIns="71963" anchor="t" anchorCtr="0"/>
          <a:lstStyle/>
          <a:p>
            <a:pPr algn="r">
              <a:tabLst>
                <a:tab pos="0" algn="l"/>
              </a:tabLst>
            </a:pPr>
            <a:r>
              <a:rPr lang="en-US" sz="1399" b="1" dirty="0" err="1">
                <a:ea typeface="Arial Unicode MS"/>
              </a:rPr>
              <a:t>Fraude</a:t>
            </a:r>
            <a:r>
              <a:rPr lang="en-US" sz="1399" b="1" dirty="0">
                <a:ea typeface="Arial Unicode MS"/>
              </a:rPr>
              <a:t> </a:t>
            </a:r>
            <a:r>
              <a:rPr lang="en-US" sz="1399" b="1" dirty="0" err="1">
                <a:ea typeface="Arial Unicode MS"/>
              </a:rPr>
              <a:t>detectie</a:t>
            </a:r>
            <a:endParaRPr lang="en-US" sz="1399" b="1" dirty="0">
              <a:ea typeface="Arial Unicode MS"/>
            </a:endParaRPr>
          </a:p>
        </p:txBody>
      </p:sp>
      <p:sp>
        <p:nvSpPr>
          <p:cNvPr id="13" name="AutoShape 54">
            <a:extLst>
              <a:ext uri="{FF2B5EF4-FFF2-40B4-BE49-F238E27FC236}">
                <a16:creationId xmlns:a16="http://schemas.microsoft.com/office/drawing/2014/main" id="{A4D47F27-D17B-E244-8886-DEA3F4D9EC64}"/>
              </a:ext>
            </a:extLst>
          </p:cNvPr>
          <p:cNvSpPr>
            <a:spLocks noChangeArrowheads="1"/>
          </p:cNvSpPr>
          <p:nvPr/>
        </p:nvSpPr>
        <p:spPr bwMode="auto">
          <a:xfrm flipH="1">
            <a:off x="7334074" y="3008647"/>
            <a:ext cx="4374472" cy="317893"/>
          </a:xfrm>
          <a:prstGeom prst="homePlate">
            <a:avLst>
              <a:gd name="adj" fmla="val 36431"/>
            </a:avLst>
          </a:prstGeom>
          <a:solidFill>
            <a:srgbClr val="333353"/>
          </a:solidFill>
          <a:ln w="0">
            <a:noFill/>
          </a:ln>
          <a:effectLst/>
        </p:spPr>
        <p:txBody>
          <a:bodyPr lIns="1799063" tIns="71963" rIns="143925" bIns="71963" anchor="t" anchorCtr="0"/>
          <a:lstStyle/>
          <a:p>
            <a:pPr algn="r">
              <a:tabLst>
                <a:tab pos="0" algn="l"/>
              </a:tabLst>
            </a:pPr>
            <a:r>
              <a:rPr lang="en-US" sz="1399" b="1" dirty="0">
                <a:ea typeface="Arial Unicode MS"/>
              </a:rPr>
              <a:t>Customer Support</a:t>
            </a:r>
          </a:p>
        </p:txBody>
      </p:sp>
      <p:sp>
        <p:nvSpPr>
          <p:cNvPr id="16" name="AutoShape 54">
            <a:extLst>
              <a:ext uri="{FF2B5EF4-FFF2-40B4-BE49-F238E27FC236}">
                <a16:creationId xmlns:a16="http://schemas.microsoft.com/office/drawing/2014/main" id="{B812E9ED-60C4-5957-E852-1187EB5EAEF4}"/>
              </a:ext>
            </a:extLst>
          </p:cNvPr>
          <p:cNvSpPr>
            <a:spLocks noChangeArrowheads="1"/>
          </p:cNvSpPr>
          <p:nvPr/>
        </p:nvSpPr>
        <p:spPr bwMode="auto">
          <a:xfrm flipH="1">
            <a:off x="7409991" y="3903461"/>
            <a:ext cx="4374472" cy="365761"/>
          </a:xfrm>
          <a:prstGeom prst="homePlate">
            <a:avLst>
              <a:gd name="adj" fmla="val 36431"/>
            </a:avLst>
          </a:prstGeom>
          <a:solidFill>
            <a:srgbClr val="333353"/>
          </a:solidFill>
          <a:ln w="0">
            <a:noFill/>
          </a:ln>
          <a:effectLst/>
        </p:spPr>
        <p:txBody>
          <a:bodyPr lIns="1799063" tIns="71963" rIns="143925" bIns="71963" anchor="t" anchorCtr="0"/>
          <a:lstStyle/>
          <a:p>
            <a:pPr algn="r">
              <a:tabLst>
                <a:tab pos="0" algn="l"/>
              </a:tabLst>
            </a:pPr>
            <a:r>
              <a:rPr lang="en-US" sz="1399" b="1" dirty="0">
                <a:ea typeface="Arial Unicode MS"/>
              </a:rPr>
              <a:t>Camera monitoring</a:t>
            </a:r>
          </a:p>
        </p:txBody>
      </p:sp>
      <p:sp>
        <p:nvSpPr>
          <p:cNvPr id="17" name="AutoShape 54">
            <a:extLst>
              <a:ext uri="{FF2B5EF4-FFF2-40B4-BE49-F238E27FC236}">
                <a16:creationId xmlns:a16="http://schemas.microsoft.com/office/drawing/2014/main" id="{47AF04D4-9173-CA2C-56F2-1E349B751586}"/>
              </a:ext>
            </a:extLst>
          </p:cNvPr>
          <p:cNvSpPr>
            <a:spLocks noChangeArrowheads="1"/>
          </p:cNvSpPr>
          <p:nvPr/>
        </p:nvSpPr>
        <p:spPr bwMode="auto">
          <a:xfrm flipH="1">
            <a:off x="7066290" y="4852081"/>
            <a:ext cx="4374472" cy="365761"/>
          </a:xfrm>
          <a:prstGeom prst="homePlate">
            <a:avLst>
              <a:gd name="adj" fmla="val 36431"/>
            </a:avLst>
          </a:prstGeom>
          <a:solidFill>
            <a:srgbClr val="333353"/>
          </a:solidFill>
          <a:ln w="0">
            <a:noFill/>
          </a:ln>
          <a:effectLst/>
        </p:spPr>
        <p:txBody>
          <a:bodyPr lIns="1799063" tIns="71963" rIns="143925" bIns="71963" anchor="t" anchorCtr="0"/>
          <a:lstStyle/>
          <a:p>
            <a:pPr algn="r">
              <a:tabLst>
                <a:tab pos="0" algn="l"/>
              </a:tabLst>
            </a:pPr>
            <a:r>
              <a:rPr lang="en-US" sz="1399" b="1" dirty="0">
                <a:ea typeface="Arial Unicode MS"/>
              </a:rPr>
              <a:t>Spotify/Netflix</a:t>
            </a:r>
          </a:p>
        </p:txBody>
      </p:sp>
      <p:sp>
        <p:nvSpPr>
          <p:cNvPr id="7" name="Freeform: Shape 11">
            <a:extLst>
              <a:ext uri="{FF2B5EF4-FFF2-40B4-BE49-F238E27FC236}">
                <a16:creationId xmlns:a16="http://schemas.microsoft.com/office/drawing/2014/main" id="{2C3F54F1-76E6-61A4-4DB0-087071A1747E}"/>
              </a:ext>
            </a:extLst>
          </p:cNvPr>
          <p:cNvSpPr/>
          <p:nvPr/>
        </p:nvSpPr>
        <p:spPr bwMode="gray">
          <a:xfrm>
            <a:off x="3722081" y="1414463"/>
            <a:ext cx="4752000" cy="4752000"/>
          </a:xfrm>
          <a:custGeom>
            <a:avLst/>
            <a:gdLst>
              <a:gd name="connsiteX0" fmla="*/ 2376000 w 4752000"/>
              <a:gd name="connsiteY0" fmla="*/ 288000 h 4752000"/>
              <a:gd name="connsiteX1" fmla="*/ 288000 w 4752000"/>
              <a:gd name="connsiteY1" fmla="*/ 2376000 h 4752000"/>
              <a:gd name="connsiteX2" fmla="*/ 2376000 w 4752000"/>
              <a:gd name="connsiteY2" fmla="*/ 4464000 h 4752000"/>
              <a:gd name="connsiteX3" fmla="*/ 4464000 w 4752000"/>
              <a:gd name="connsiteY3" fmla="*/ 2376000 h 4752000"/>
              <a:gd name="connsiteX4" fmla="*/ 2376000 w 4752000"/>
              <a:gd name="connsiteY4" fmla="*/ 288000 h 4752000"/>
              <a:gd name="connsiteX5" fmla="*/ 2376000 w 4752000"/>
              <a:gd name="connsiteY5" fmla="*/ 0 h 4752000"/>
              <a:gd name="connsiteX6" fmla="*/ 4752000 w 4752000"/>
              <a:gd name="connsiteY6" fmla="*/ 2376000 h 4752000"/>
              <a:gd name="connsiteX7" fmla="*/ 2376000 w 4752000"/>
              <a:gd name="connsiteY7" fmla="*/ 4752000 h 4752000"/>
              <a:gd name="connsiteX8" fmla="*/ 0 w 4752000"/>
              <a:gd name="connsiteY8" fmla="*/ 2376000 h 4752000"/>
              <a:gd name="connsiteX9" fmla="*/ 2376000 w 4752000"/>
              <a:gd name="connsiteY9" fmla="*/ 0 h 47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52000" h="4752000">
                <a:moveTo>
                  <a:pt x="2376000" y="288000"/>
                </a:moveTo>
                <a:cubicBezTo>
                  <a:pt x="1222829" y="288000"/>
                  <a:pt x="288000" y="1222830"/>
                  <a:pt x="288000" y="2376000"/>
                </a:cubicBezTo>
                <a:cubicBezTo>
                  <a:pt x="288000" y="3529170"/>
                  <a:pt x="1222829" y="4464000"/>
                  <a:pt x="2376000" y="4464000"/>
                </a:cubicBezTo>
                <a:cubicBezTo>
                  <a:pt x="3529171" y="4464000"/>
                  <a:pt x="4464000" y="3529170"/>
                  <a:pt x="4464000" y="2376000"/>
                </a:cubicBezTo>
                <a:cubicBezTo>
                  <a:pt x="4464000" y="1222830"/>
                  <a:pt x="3529171" y="288000"/>
                  <a:pt x="2376000" y="288000"/>
                </a:cubicBezTo>
                <a:close/>
                <a:moveTo>
                  <a:pt x="2376000" y="0"/>
                </a:moveTo>
                <a:cubicBezTo>
                  <a:pt x="3688229" y="0"/>
                  <a:pt x="4752000" y="1063772"/>
                  <a:pt x="4752000" y="2376000"/>
                </a:cubicBezTo>
                <a:cubicBezTo>
                  <a:pt x="4752000" y="3688228"/>
                  <a:pt x="3688229" y="4752000"/>
                  <a:pt x="2376000" y="4752000"/>
                </a:cubicBezTo>
                <a:cubicBezTo>
                  <a:pt x="1063771" y="4752000"/>
                  <a:pt x="0" y="3688228"/>
                  <a:pt x="0" y="2376000"/>
                </a:cubicBezTo>
                <a:cubicBezTo>
                  <a:pt x="0" y="1063772"/>
                  <a:pt x="1063771" y="0"/>
                  <a:pt x="2376000" y="0"/>
                </a:cubicBezTo>
                <a:close/>
              </a:path>
            </a:pathLst>
          </a:custGeom>
          <a:gradFill>
            <a:gsLst>
              <a:gs pos="0">
                <a:srgbClr val="00FFB9"/>
              </a:gs>
              <a:gs pos="100000">
                <a:srgbClr val="00E6DC"/>
              </a:gs>
            </a:gsLst>
            <a:lin ang="0" scaled="0"/>
          </a:gradFill>
          <a:ln>
            <a:noFill/>
          </a:ln>
          <a:effectLst/>
        </p:spPr>
        <p:txBody>
          <a:bodyPr wrap="square" lIns="683644" tIns="143925" rIns="683644" bIns="143925" numCol="1" spcCol="72000" rtlCol="0" anchor="ctr">
            <a:noAutofit/>
          </a:bodyPr>
          <a:lstStyle/>
          <a:p>
            <a:pPr algn="ctr">
              <a:lnSpc>
                <a:spcPct val="110000"/>
              </a:lnSpc>
              <a:spcBef>
                <a:spcPct val="0"/>
              </a:spcBef>
            </a:pPr>
            <a:r>
              <a:rPr lang="en-US" sz="1799" b="1" dirty="0"/>
              <a:t>AI</a:t>
            </a:r>
          </a:p>
        </p:txBody>
      </p:sp>
      <p:sp>
        <p:nvSpPr>
          <p:cNvPr id="18" name="Footer Placeholder 5">
            <a:extLst>
              <a:ext uri="{FF2B5EF4-FFF2-40B4-BE49-F238E27FC236}">
                <a16:creationId xmlns:a16="http://schemas.microsoft.com/office/drawing/2014/main" id="{D8D5EE60-3CF5-3DEE-568D-F02A7B101E0A}"/>
              </a:ext>
            </a:extLst>
          </p:cNvPr>
          <p:cNvSpPr txBox="1">
            <a:spLocks/>
          </p:cNvSpPr>
          <p:nvPr/>
        </p:nvSpPr>
        <p:spPr>
          <a:xfrm>
            <a:off x="1103228" y="6310800"/>
            <a:ext cx="9216000" cy="547200"/>
          </a:xfrm>
          <a:prstGeom prst="rect">
            <a:avLst/>
          </a:prstGeom>
        </p:spPr>
        <p:txBody>
          <a:bodyPr vert="horz" lIns="0" tIns="0" rIns="0" bIns="61200" rtlCol="0" anchor="ctr" anchorCtr="0"/>
          <a:lstStyle>
            <a:defPPr>
              <a:defRPr lang="nl-NL"/>
            </a:defPPr>
            <a:lvl1pPr marL="0" algn="l" defTabSz="914400" rtl="0" eaLnBrk="1" latinLnBrk="0" hangingPunct="1">
              <a:lnSpc>
                <a:spcPct val="100000"/>
              </a:lnSpc>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Unrestricted | © Siemens 2023 | Industrial AI</a:t>
            </a:r>
          </a:p>
        </p:txBody>
      </p:sp>
    </p:spTree>
    <p:extLst>
      <p:ext uri="{BB962C8B-B14F-4D97-AF65-F5344CB8AC3E}">
        <p14:creationId xmlns:p14="http://schemas.microsoft.com/office/powerpoint/2010/main" val="1703313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kt 27"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28" name="Objekt 2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4" name="Title">
            <a:extLst>
              <a:ext uri="{FF2B5EF4-FFF2-40B4-BE49-F238E27FC236}">
                <a16:creationId xmlns:a16="http://schemas.microsoft.com/office/drawing/2014/main" id="{D6B43D63-C144-425A-AF1B-21448C20F9F0}"/>
              </a:ext>
            </a:extLst>
          </p:cNvPr>
          <p:cNvSpPr>
            <a:spLocks noGrp="1"/>
          </p:cNvSpPr>
          <p:nvPr>
            <p:ph type="title"/>
          </p:nvPr>
        </p:nvSpPr>
        <p:spPr>
          <a:xfrm>
            <a:off x="410400" y="478800"/>
            <a:ext cx="9863997" cy="576000"/>
          </a:xfrm>
        </p:spPr>
        <p:txBody>
          <a:bodyPr vert="horz"/>
          <a:lstStyle/>
          <a:p>
            <a:r>
              <a:rPr lang="nl-NL"/>
              <a:t>Wat doet Siemens op het gebied van AI?</a:t>
            </a:r>
            <a:br>
              <a:rPr lang="nl-NL"/>
            </a:br>
            <a:endParaRPr lang="nl-NL" b="0"/>
          </a:p>
        </p:txBody>
      </p:sp>
      <p:pic>
        <p:nvPicPr>
          <p:cNvPr id="2" name="Afbeelding 1">
            <a:extLst>
              <a:ext uri="{FF2B5EF4-FFF2-40B4-BE49-F238E27FC236}">
                <a16:creationId xmlns:a16="http://schemas.microsoft.com/office/drawing/2014/main" id="{A5AF0D40-E370-F274-BB76-D3827CD6FB48}"/>
              </a:ext>
            </a:extLst>
          </p:cNvPr>
          <p:cNvPicPr>
            <a:picLocks noChangeAspect="1"/>
          </p:cNvPicPr>
          <p:nvPr/>
        </p:nvPicPr>
        <p:blipFill>
          <a:blip r:embed="rId6"/>
          <a:stretch>
            <a:fillRect/>
          </a:stretch>
        </p:blipFill>
        <p:spPr>
          <a:xfrm>
            <a:off x="4752759" y="3450304"/>
            <a:ext cx="4122537" cy="2318927"/>
          </a:xfrm>
          <a:prstGeom prst="rect">
            <a:avLst/>
          </a:prstGeom>
        </p:spPr>
      </p:pic>
      <p:pic>
        <p:nvPicPr>
          <p:cNvPr id="1026" name="Picture 2" descr="Artificial intelligence in healthcare">
            <a:extLst>
              <a:ext uri="{FF2B5EF4-FFF2-40B4-BE49-F238E27FC236}">
                <a16:creationId xmlns:a16="http://schemas.microsoft.com/office/drawing/2014/main" id="{DBD9F9EF-D8E5-27DD-5BB8-C6B95798127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0400" y="934772"/>
            <a:ext cx="4122537" cy="2304187"/>
          </a:xfrm>
          <a:prstGeom prst="rect">
            <a:avLst/>
          </a:prstGeom>
          <a:noFill/>
          <a:extLst>
            <a:ext uri="{909E8E84-426E-40DD-AFC4-6F175D3DCCD1}">
              <a14:hiddenFill xmlns:a14="http://schemas.microsoft.com/office/drawing/2010/main">
                <a:solidFill>
                  <a:srgbClr val="FFFFFF"/>
                </a:solidFill>
              </a14:hiddenFill>
            </a:ext>
          </a:extLst>
        </p:spPr>
      </p:pic>
      <p:pic>
        <p:nvPicPr>
          <p:cNvPr id="4" name="Afbeelding 3">
            <a:extLst>
              <a:ext uri="{FF2B5EF4-FFF2-40B4-BE49-F238E27FC236}">
                <a16:creationId xmlns:a16="http://schemas.microsoft.com/office/drawing/2014/main" id="{9ED6A32C-F520-39BB-C0AA-B9193B83F1F0}"/>
              </a:ext>
            </a:extLst>
          </p:cNvPr>
          <p:cNvPicPr>
            <a:picLocks noChangeAspect="1"/>
          </p:cNvPicPr>
          <p:nvPr/>
        </p:nvPicPr>
        <p:blipFill>
          <a:blip r:embed="rId8"/>
          <a:stretch>
            <a:fillRect/>
          </a:stretch>
        </p:blipFill>
        <p:spPr>
          <a:xfrm>
            <a:off x="4763776" y="965736"/>
            <a:ext cx="4246046" cy="2304187"/>
          </a:xfrm>
          <a:prstGeom prst="rect">
            <a:avLst/>
          </a:prstGeom>
        </p:spPr>
      </p:pic>
      <p:pic>
        <p:nvPicPr>
          <p:cNvPr id="1028" name="Picture 4" descr="Autonomous Mobile Robots | Automated Guided Vehicles | Development | Siemens  Software">
            <a:extLst>
              <a:ext uri="{FF2B5EF4-FFF2-40B4-BE49-F238E27FC236}">
                <a16:creationId xmlns:a16="http://schemas.microsoft.com/office/drawing/2014/main" id="{69BE930D-84D7-FDD4-2E5E-7FD24A15EB8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0400" y="3450304"/>
            <a:ext cx="4122537" cy="2318927"/>
          </a:xfrm>
          <a:prstGeom prst="rect">
            <a:avLst/>
          </a:prstGeom>
          <a:noFill/>
          <a:extLst>
            <a:ext uri="{909E8E84-426E-40DD-AFC4-6F175D3DCCD1}">
              <a14:hiddenFill xmlns:a14="http://schemas.microsoft.com/office/drawing/2010/main">
                <a:solidFill>
                  <a:srgbClr val="FFFFFF"/>
                </a:solidFill>
              </a14:hiddenFill>
            </a:ext>
          </a:extLst>
        </p:spPr>
      </p:pic>
      <p:sp>
        <p:nvSpPr>
          <p:cNvPr id="5" name="Tekstvak 4">
            <a:extLst>
              <a:ext uri="{FF2B5EF4-FFF2-40B4-BE49-F238E27FC236}">
                <a16:creationId xmlns:a16="http://schemas.microsoft.com/office/drawing/2014/main" id="{65D94D5D-3106-146B-0823-5194C42FECBB}"/>
              </a:ext>
            </a:extLst>
          </p:cNvPr>
          <p:cNvSpPr txBox="1"/>
          <p:nvPr/>
        </p:nvSpPr>
        <p:spPr>
          <a:xfrm>
            <a:off x="9578227" y="1649811"/>
            <a:ext cx="2203373" cy="3600986"/>
          </a:xfrm>
          <a:prstGeom prst="rect">
            <a:avLst/>
          </a:prstGeom>
          <a:noFill/>
        </p:spPr>
        <p:txBody>
          <a:bodyPr wrap="square" lIns="0" tIns="0" rIns="0" bIns="0" rtlCol="0">
            <a:spAutoFit/>
          </a:bodyPr>
          <a:lstStyle/>
          <a:p>
            <a:pPr algn="l"/>
            <a:r>
              <a:rPr lang="nl-NL" dirty="0" err="1"/>
              <a:t>Explainable</a:t>
            </a:r>
            <a:r>
              <a:rPr lang="nl-NL" dirty="0"/>
              <a:t> AI</a:t>
            </a:r>
          </a:p>
          <a:p>
            <a:pPr algn="l"/>
            <a:endParaRPr lang="nl-NL" dirty="0"/>
          </a:p>
          <a:p>
            <a:pPr algn="l"/>
            <a:endParaRPr lang="nl-NL" dirty="0"/>
          </a:p>
          <a:p>
            <a:pPr algn="l"/>
            <a:r>
              <a:rPr lang="nl-NL" dirty="0" err="1"/>
              <a:t>Trustworthy</a:t>
            </a:r>
            <a:r>
              <a:rPr lang="nl-NL" dirty="0"/>
              <a:t> AI</a:t>
            </a:r>
          </a:p>
          <a:p>
            <a:pPr algn="l"/>
            <a:endParaRPr lang="nl-NL" dirty="0"/>
          </a:p>
          <a:p>
            <a:pPr algn="l"/>
            <a:endParaRPr lang="nl-NL" dirty="0"/>
          </a:p>
          <a:p>
            <a:pPr algn="l"/>
            <a:r>
              <a:rPr lang="nl-NL" dirty="0"/>
              <a:t>Active </a:t>
            </a:r>
            <a:r>
              <a:rPr lang="nl-NL" dirty="0" err="1"/>
              <a:t>learning</a:t>
            </a:r>
            <a:endParaRPr lang="nl-NL" dirty="0"/>
          </a:p>
          <a:p>
            <a:pPr algn="l"/>
            <a:endParaRPr lang="nl-NL" dirty="0"/>
          </a:p>
          <a:p>
            <a:pPr algn="l"/>
            <a:endParaRPr lang="nl-NL" dirty="0"/>
          </a:p>
          <a:p>
            <a:pPr algn="l"/>
            <a:r>
              <a:rPr lang="nl-NL" dirty="0"/>
              <a:t>Federated </a:t>
            </a:r>
            <a:r>
              <a:rPr lang="nl-NL" dirty="0" err="1"/>
              <a:t>learning</a:t>
            </a:r>
            <a:endParaRPr lang="nl-NL" dirty="0"/>
          </a:p>
          <a:p>
            <a:pPr algn="l"/>
            <a:endParaRPr lang="nl-NL" dirty="0"/>
          </a:p>
          <a:p>
            <a:pPr algn="l"/>
            <a:endParaRPr lang="nl-NL" dirty="0"/>
          </a:p>
          <a:p>
            <a:pPr algn="l"/>
            <a:r>
              <a:rPr lang="nl-NL" dirty="0" err="1"/>
              <a:t>Differential</a:t>
            </a:r>
            <a:r>
              <a:rPr lang="nl-NL" dirty="0"/>
              <a:t> Privacy</a:t>
            </a:r>
          </a:p>
        </p:txBody>
      </p:sp>
      <p:sp>
        <p:nvSpPr>
          <p:cNvPr id="7" name="Footer Placeholder 5">
            <a:extLst>
              <a:ext uri="{FF2B5EF4-FFF2-40B4-BE49-F238E27FC236}">
                <a16:creationId xmlns:a16="http://schemas.microsoft.com/office/drawing/2014/main" id="{4A267EB2-C045-D344-78B3-7F08702FE995}"/>
              </a:ext>
            </a:extLst>
          </p:cNvPr>
          <p:cNvSpPr txBox="1">
            <a:spLocks/>
          </p:cNvSpPr>
          <p:nvPr/>
        </p:nvSpPr>
        <p:spPr>
          <a:xfrm>
            <a:off x="1058397" y="6310800"/>
            <a:ext cx="9216000" cy="547200"/>
          </a:xfrm>
          <a:prstGeom prst="rect">
            <a:avLst/>
          </a:prstGeom>
        </p:spPr>
        <p:txBody>
          <a:bodyPr vert="horz" lIns="0" tIns="0" rIns="0" bIns="61200" rtlCol="0" anchor="ctr" anchorCtr="0"/>
          <a:lstStyle>
            <a:defPPr>
              <a:defRPr lang="nl-NL"/>
            </a:defPPr>
            <a:lvl1pPr marL="0" algn="l" defTabSz="914400" rtl="0" eaLnBrk="1" latinLnBrk="0" hangingPunct="1">
              <a:lnSpc>
                <a:spcPct val="100000"/>
              </a:lnSpc>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Unrestricted | © Siemens 2023 | Industrial AI</a:t>
            </a:r>
            <a:endParaRPr lang="en-US" dirty="0"/>
          </a:p>
        </p:txBody>
      </p:sp>
    </p:spTree>
    <p:extLst>
      <p:ext uri="{BB962C8B-B14F-4D97-AF65-F5344CB8AC3E}">
        <p14:creationId xmlns:p14="http://schemas.microsoft.com/office/powerpoint/2010/main" val="989776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kt 27"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28" name="Objekt 2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4" name="Title">
            <a:extLst>
              <a:ext uri="{FF2B5EF4-FFF2-40B4-BE49-F238E27FC236}">
                <a16:creationId xmlns:a16="http://schemas.microsoft.com/office/drawing/2014/main" id="{D6B43D63-C144-425A-AF1B-21448C20F9F0}"/>
              </a:ext>
            </a:extLst>
          </p:cNvPr>
          <p:cNvSpPr>
            <a:spLocks noGrp="1"/>
          </p:cNvSpPr>
          <p:nvPr>
            <p:ph type="title"/>
          </p:nvPr>
        </p:nvSpPr>
        <p:spPr>
          <a:xfrm>
            <a:off x="410400" y="478800"/>
            <a:ext cx="9863997" cy="576000"/>
          </a:xfrm>
        </p:spPr>
        <p:txBody>
          <a:bodyPr vert="horz"/>
          <a:lstStyle/>
          <a:p>
            <a:r>
              <a:rPr lang="en-US" dirty="0"/>
              <a:t>Wat </a:t>
            </a:r>
            <a:r>
              <a:rPr lang="en-US" dirty="0" err="1"/>
              <a:t>doet</a:t>
            </a:r>
            <a:r>
              <a:rPr lang="en-US" dirty="0"/>
              <a:t> Siemens op het </a:t>
            </a:r>
            <a:r>
              <a:rPr lang="en-US" dirty="0" err="1"/>
              <a:t>gebied</a:t>
            </a:r>
            <a:r>
              <a:rPr lang="en-US" dirty="0"/>
              <a:t> van AI?</a:t>
            </a:r>
            <a:br>
              <a:rPr lang="en-US" dirty="0"/>
            </a:br>
            <a:endParaRPr lang="de-DE" b="0" dirty="0"/>
          </a:p>
        </p:txBody>
      </p:sp>
      <p:pic>
        <p:nvPicPr>
          <p:cNvPr id="3" name="Afbeelding 2">
            <a:extLst>
              <a:ext uri="{FF2B5EF4-FFF2-40B4-BE49-F238E27FC236}">
                <a16:creationId xmlns:a16="http://schemas.microsoft.com/office/drawing/2014/main" id="{72E2B1FB-E1B3-6F48-B016-6271BA25D50A}"/>
              </a:ext>
            </a:extLst>
          </p:cNvPr>
          <p:cNvPicPr>
            <a:picLocks noChangeAspect="1"/>
          </p:cNvPicPr>
          <p:nvPr/>
        </p:nvPicPr>
        <p:blipFill>
          <a:blip r:embed="rId6"/>
          <a:stretch>
            <a:fillRect/>
          </a:stretch>
        </p:blipFill>
        <p:spPr>
          <a:xfrm>
            <a:off x="410400" y="1156537"/>
            <a:ext cx="8392077" cy="2443847"/>
          </a:xfrm>
          <a:prstGeom prst="rect">
            <a:avLst/>
          </a:prstGeom>
        </p:spPr>
      </p:pic>
      <p:sp>
        <p:nvSpPr>
          <p:cNvPr id="7" name="Tekstvak 6">
            <a:extLst>
              <a:ext uri="{FF2B5EF4-FFF2-40B4-BE49-F238E27FC236}">
                <a16:creationId xmlns:a16="http://schemas.microsoft.com/office/drawing/2014/main" id="{613A0BB8-6DE2-5E8C-E8B7-E9C6E61418F6}"/>
              </a:ext>
            </a:extLst>
          </p:cNvPr>
          <p:cNvSpPr txBox="1"/>
          <p:nvPr/>
        </p:nvSpPr>
        <p:spPr>
          <a:xfrm>
            <a:off x="410400" y="3814411"/>
            <a:ext cx="9350545" cy="276998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800" kern="100" dirty="0">
                <a:effectLst/>
                <a:latin typeface="Calibri" panose="020F0502020204030204" pitchFamily="34" charset="0"/>
                <a:ea typeface="Calibri" panose="020F0502020204030204" pitchFamily="34" charset="0"/>
                <a:cs typeface="Times New Roman" panose="02020603050405020304" pitchFamily="18" charset="0"/>
              </a:rPr>
              <a:t>Wat merken medewerk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800" kern="100" dirty="0">
                <a:effectLst/>
                <a:latin typeface="Calibri" panose="020F0502020204030204" pitchFamily="34" charset="0"/>
                <a:ea typeface="Calibri" panose="020F0502020204030204" pitchFamily="34" charset="0"/>
                <a:cs typeface="Times New Roman" panose="02020603050405020304" pitchFamily="18" charset="0"/>
              </a:rPr>
              <a:t>AI ter ondersteun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kern="100" dirty="0">
                <a:latin typeface="Calibri" panose="020F0502020204030204" pitchFamily="34" charset="0"/>
                <a:ea typeface="Calibri" panose="020F0502020204030204" pitchFamily="34" charset="0"/>
                <a:cs typeface="Times New Roman" panose="02020603050405020304" pitchFamily="18" charset="0"/>
              </a:rPr>
              <a:t>Manier van werken and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800" kern="100" dirty="0">
                <a:effectLst/>
                <a:latin typeface="Calibri" panose="020F0502020204030204" pitchFamily="34" charset="0"/>
                <a:ea typeface="Calibri" panose="020F0502020204030204" pitchFamily="34" charset="0"/>
                <a:cs typeface="Times New Roman" panose="02020603050405020304" pitchFamily="18" charset="0"/>
              </a:rPr>
              <a:t>Productiev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sz="1800" kern="100" dirty="0">
                <a:effectLst/>
                <a:latin typeface="Calibri" panose="020F0502020204030204" pitchFamily="34" charset="0"/>
                <a:ea typeface="Calibri" panose="020F0502020204030204" pitchFamily="34" charset="0"/>
                <a:cs typeface="Times New Roman" panose="02020603050405020304" pitchFamily="18" charset="0"/>
              </a:rPr>
              <a:t>Hoe bereid je medewerkers voo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800" kern="100" dirty="0">
                <a:effectLst/>
                <a:latin typeface="Calibri" panose="020F0502020204030204" pitchFamily="34" charset="0"/>
                <a:ea typeface="Calibri" panose="020F0502020204030204" pitchFamily="34" charset="0"/>
                <a:cs typeface="Times New Roman" panose="02020603050405020304" pitchFamily="18" charset="0"/>
              </a:rPr>
              <a:t>Trainen in gebruik en gevaren van </a:t>
            </a:r>
            <a:r>
              <a:rPr lang="nl-NL" sz="1800" kern="100" dirty="0" err="1">
                <a:effectLst/>
                <a:latin typeface="Calibri" panose="020F0502020204030204" pitchFamily="34" charset="0"/>
                <a:ea typeface="Calibri" panose="020F0502020204030204" pitchFamily="34" charset="0"/>
                <a:cs typeface="Times New Roman" panose="02020603050405020304" pitchFamily="18" charset="0"/>
              </a:rPr>
              <a:t>ChatGPT</a:t>
            </a:r>
            <a:r>
              <a:rPr lang="nl-NL" sz="1800" kern="100" dirty="0">
                <a:effectLst/>
                <a:latin typeface="Calibri" panose="020F0502020204030204" pitchFamily="34" charset="0"/>
                <a:ea typeface="Calibri" panose="020F0502020204030204" pitchFamily="34" charset="0"/>
                <a:cs typeface="Times New Roman" panose="02020603050405020304" pitchFamily="18" charset="0"/>
              </a:rPr>
              <a:t> en andere slimme platformen. </a:t>
            </a:r>
          </a:p>
          <a:p>
            <a:pPr marL="285750" indent="-285750">
              <a:buFont typeface="Arial" panose="020B0604020202020204" pitchFamily="34" charset="0"/>
              <a:buChar char="•"/>
            </a:pPr>
            <a:r>
              <a:rPr lang="nl-NL" sz="1800" dirty="0">
                <a:effectLst/>
                <a:latin typeface="Calibri" panose="020F0502020204030204" pitchFamily="34" charset="0"/>
                <a:ea typeface="Calibri" panose="020F0502020204030204" pitchFamily="34" charset="0"/>
                <a:cs typeface="Times New Roman" panose="02020603050405020304" pitchFamily="18" charset="0"/>
              </a:rPr>
              <a:t>Change management.</a:t>
            </a:r>
            <a:br>
              <a:rPr lang="nl-NL" sz="1800" dirty="0">
                <a:effectLst/>
                <a:latin typeface="Calibri" panose="020F0502020204030204" pitchFamily="34" charset="0"/>
                <a:ea typeface="Calibri" panose="020F0502020204030204" pitchFamily="34" charset="0"/>
                <a:cs typeface="Times New Roman" panose="02020603050405020304" pitchFamily="18" charset="0"/>
              </a:rPr>
            </a:b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gn="l"/>
            <a:endParaRPr lang="nl-NL" dirty="0" err="1"/>
          </a:p>
        </p:txBody>
      </p:sp>
      <p:sp>
        <p:nvSpPr>
          <p:cNvPr id="8" name="Footer Placeholder 5">
            <a:extLst>
              <a:ext uri="{FF2B5EF4-FFF2-40B4-BE49-F238E27FC236}">
                <a16:creationId xmlns:a16="http://schemas.microsoft.com/office/drawing/2014/main" id="{D980C7B9-B2E9-816E-9DE7-F5698A2AFA4A}"/>
              </a:ext>
            </a:extLst>
          </p:cNvPr>
          <p:cNvSpPr txBox="1">
            <a:spLocks/>
          </p:cNvSpPr>
          <p:nvPr/>
        </p:nvSpPr>
        <p:spPr>
          <a:xfrm>
            <a:off x="814953" y="6379200"/>
            <a:ext cx="9216000" cy="547200"/>
          </a:xfrm>
          <a:prstGeom prst="rect">
            <a:avLst/>
          </a:prstGeom>
        </p:spPr>
        <p:txBody>
          <a:bodyPr vert="horz" lIns="0" tIns="0" rIns="0" bIns="61200" rtlCol="0" anchor="ctr" anchorCtr="0"/>
          <a:lstStyle>
            <a:defPPr>
              <a:defRPr lang="nl-NL"/>
            </a:defPPr>
            <a:lvl1pPr marL="0" algn="l" defTabSz="914400" rtl="0" eaLnBrk="1" latinLnBrk="0" hangingPunct="1">
              <a:lnSpc>
                <a:spcPct val="100000"/>
              </a:lnSpc>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Unrestricted | © Siemens 2023 | Industrial AI</a:t>
            </a:r>
          </a:p>
        </p:txBody>
      </p:sp>
    </p:spTree>
    <p:extLst>
      <p:ext uri="{BB962C8B-B14F-4D97-AF65-F5344CB8AC3E}">
        <p14:creationId xmlns:p14="http://schemas.microsoft.com/office/powerpoint/2010/main" val="121927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BlitzWolke">
            <a:extLst>
              <a:ext uri="{FF2B5EF4-FFF2-40B4-BE49-F238E27FC236}">
                <a16:creationId xmlns:a16="http://schemas.microsoft.com/office/drawing/2014/main" id="{BBBADDFD-0BE2-C340-AB62-35EAAF65FED2}"/>
              </a:ext>
            </a:extLst>
          </p:cNvPr>
          <p:cNvPicPr>
            <a:picLocks noChangeAspect="1"/>
          </p:cNvPicPr>
          <p:nvPr/>
        </p:nvPicPr>
        <p:blipFill rotWithShape="1">
          <a:blip r:embed="rId3"/>
          <a:srcRect l="2225" t="22441" b="23715"/>
          <a:stretch/>
        </p:blipFill>
        <p:spPr>
          <a:xfrm>
            <a:off x="1008768" y="0"/>
            <a:ext cx="10174464" cy="6858000"/>
          </a:xfrm>
          <a:prstGeom prst="rect">
            <a:avLst/>
          </a:prstGeom>
        </p:spPr>
      </p:pic>
      <p:sp>
        <p:nvSpPr>
          <p:cNvPr id="16" name="Rechteck 15">
            <a:extLst>
              <a:ext uri="{FF2B5EF4-FFF2-40B4-BE49-F238E27FC236}">
                <a16:creationId xmlns:a16="http://schemas.microsoft.com/office/drawing/2014/main" id="{E8FCABAF-4E9A-194D-A915-AD8CBA8E8308}"/>
              </a:ext>
            </a:extLst>
          </p:cNvPr>
          <p:cNvSpPr/>
          <p:nvPr/>
        </p:nvSpPr>
        <p:spPr>
          <a:xfrm rot="10800000">
            <a:off x="8644414" y="0"/>
            <a:ext cx="3547586" cy="6858000"/>
          </a:xfrm>
          <a:prstGeom prst="rect">
            <a:avLst/>
          </a:prstGeom>
          <a:gradFill flip="none" rotWithShape="1">
            <a:gsLst>
              <a:gs pos="33000">
                <a:schemeClr val="accent6"/>
              </a:gs>
              <a:gs pos="100000">
                <a:srgbClr val="060927">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14" name="Rechteck 13">
            <a:extLst>
              <a:ext uri="{FF2B5EF4-FFF2-40B4-BE49-F238E27FC236}">
                <a16:creationId xmlns:a16="http://schemas.microsoft.com/office/drawing/2014/main" id="{B406298F-7069-EC48-B899-1F2CF7A6D4D1}"/>
              </a:ext>
            </a:extLst>
          </p:cNvPr>
          <p:cNvSpPr/>
          <p:nvPr/>
        </p:nvSpPr>
        <p:spPr>
          <a:xfrm>
            <a:off x="776858" y="0"/>
            <a:ext cx="3312505" cy="6858000"/>
          </a:xfrm>
          <a:prstGeom prst="rect">
            <a:avLst/>
          </a:prstGeom>
          <a:gradFill flip="none" rotWithShape="1">
            <a:gsLst>
              <a:gs pos="33000">
                <a:schemeClr val="accent6"/>
              </a:gs>
              <a:gs pos="100000">
                <a:srgbClr val="060927">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pic>
        <p:nvPicPr>
          <p:cNvPr id="9" name="Siemens Logo">
            <a:extLst>
              <a:ext uri="{FF2B5EF4-FFF2-40B4-BE49-F238E27FC236}">
                <a16:creationId xmlns:a16="http://schemas.microsoft.com/office/drawing/2014/main" id="{215E4EA8-FD58-4A16-BF3B-C020FF75D2D7}"/>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bwMode="black">
          <a:xfrm>
            <a:off x="10635188" y="6418800"/>
            <a:ext cx="1152000" cy="183168"/>
          </a:xfrm>
          <a:prstGeom prst="rect">
            <a:avLst/>
          </a:prstGeom>
        </p:spPr>
      </p:pic>
      <p:sp>
        <p:nvSpPr>
          <p:cNvPr id="17" name="Big statement">
            <a:extLst>
              <a:ext uri="{FF2B5EF4-FFF2-40B4-BE49-F238E27FC236}">
                <a16:creationId xmlns:a16="http://schemas.microsoft.com/office/drawing/2014/main" id="{AB88C4D7-EFC4-41A8-A0C0-3662B077C45F}"/>
              </a:ext>
            </a:extLst>
          </p:cNvPr>
          <p:cNvSpPr txBox="1">
            <a:spLocks/>
          </p:cNvSpPr>
          <p:nvPr/>
        </p:nvSpPr>
        <p:spPr bwMode="gray">
          <a:xfrm>
            <a:off x="1211703" y="2033555"/>
            <a:ext cx="9206504" cy="2243691"/>
          </a:xfrm>
          <a:prstGeom prst="rect">
            <a:avLst/>
          </a:prstGeom>
          <a:noFill/>
        </p:spPr>
        <p:txBody>
          <a:bodyPr vert="horz" wrap="square" lIns="0" tIns="0" rIns="0" bIns="0" rtlCol="0" anchor="t" anchorCtr="0">
            <a:sp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pPr algn="ctr"/>
            <a:r>
              <a:rPr lang="en-US" sz="5400" dirty="0">
                <a:effectLst>
                  <a:outerShdw blurRad="114300" sx="104000" sy="104000" algn="ctr" rotWithShape="0">
                    <a:prstClr val="black">
                      <a:alpha val="66000"/>
                    </a:prstClr>
                  </a:outerShdw>
                </a:effectLst>
              </a:rPr>
              <a:t>De </a:t>
            </a:r>
            <a:r>
              <a:rPr lang="en-US" sz="5400" dirty="0" err="1">
                <a:effectLst>
                  <a:outerShdw blurRad="114300" sx="104000" sy="104000" algn="ctr" rotWithShape="0">
                    <a:prstClr val="black">
                      <a:alpha val="66000"/>
                    </a:prstClr>
                  </a:outerShdw>
                </a:effectLst>
              </a:rPr>
              <a:t>toekomst</a:t>
            </a:r>
            <a:r>
              <a:rPr lang="en-US" sz="5400" dirty="0">
                <a:effectLst>
                  <a:outerShdw blurRad="114300" sx="104000" sy="104000" algn="ctr" rotWithShape="0">
                    <a:prstClr val="black">
                      <a:alpha val="66000"/>
                    </a:prstClr>
                  </a:outerShdw>
                </a:effectLst>
              </a:rPr>
              <a:t> is</a:t>
            </a:r>
            <a:br>
              <a:rPr lang="en-US" sz="5400" dirty="0">
                <a:effectLst>
                  <a:outerShdw blurRad="114300" sx="104000" sy="104000" algn="ctr" rotWithShape="0">
                    <a:prstClr val="black">
                      <a:alpha val="66000"/>
                    </a:prstClr>
                  </a:outerShdw>
                </a:effectLst>
              </a:rPr>
            </a:br>
            <a:r>
              <a:rPr lang="en-US" sz="5400" dirty="0" err="1">
                <a:effectLst>
                  <a:outerShdw blurRad="114300" sx="104000" sy="104000" algn="ctr" rotWithShape="0">
                    <a:prstClr val="black">
                      <a:alpha val="66000"/>
                    </a:prstClr>
                  </a:outerShdw>
                </a:effectLst>
              </a:rPr>
              <a:t>samenwerken</a:t>
            </a:r>
            <a:r>
              <a:rPr lang="en-US" sz="5400" dirty="0">
                <a:effectLst>
                  <a:outerShdw blurRad="114300" sx="104000" sy="104000" algn="ctr" rotWithShape="0">
                    <a:prstClr val="black">
                      <a:alpha val="66000"/>
                    </a:prstClr>
                  </a:outerShdw>
                </a:effectLst>
              </a:rPr>
              <a:t> </a:t>
            </a:r>
          </a:p>
          <a:p>
            <a:pPr algn="ctr"/>
            <a:r>
              <a:rPr lang="en-US" sz="5400" dirty="0">
                <a:effectLst>
                  <a:outerShdw blurRad="114300" sx="104000" sy="104000" algn="ctr" rotWithShape="0">
                    <a:prstClr val="black">
                      <a:alpha val="66000"/>
                    </a:prstClr>
                  </a:outerShdw>
                </a:effectLst>
              </a:rPr>
              <a:t>met AI</a:t>
            </a:r>
          </a:p>
        </p:txBody>
      </p:sp>
      <p:sp>
        <p:nvSpPr>
          <p:cNvPr id="3" name="Footer Placeholder 5">
            <a:extLst>
              <a:ext uri="{FF2B5EF4-FFF2-40B4-BE49-F238E27FC236}">
                <a16:creationId xmlns:a16="http://schemas.microsoft.com/office/drawing/2014/main" id="{7CDC82B8-DFAD-2482-C53D-EA6FC92198C7}"/>
              </a:ext>
            </a:extLst>
          </p:cNvPr>
          <p:cNvSpPr>
            <a:spLocks noGrp="1"/>
          </p:cNvSpPr>
          <p:nvPr>
            <p:ph type="ftr" sz="quarter" idx="10"/>
          </p:nvPr>
        </p:nvSpPr>
        <p:spPr>
          <a:xfrm>
            <a:off x="1059160" y="6310800"/>
            <a:ext cx="9216000" cy="547200"/>
          </a:xfrm>
        </p:spPr>
        <p:txBody>
          <a:bodyPr/>
          <a:lstStyle/>
          <a:p>
            <a:r>
              <a:rPr lang="en-US" dirty="0"/>
              <a:t>Unrestricted | © Siemens 2023 | Industrial AI</a:t>
            </a:r>
          </a:p>
        </p:txBody>
      </p:sp>
    </p:spTree>
    <p:extLst>
      <p:ext uri="{BB962C8B-B14F-4D97-AF65-F5344CB8AC3E}">
        <p14:creationId xmlns:p14="http://schemas.microsoft.com/office/powerpoint/2010/main" val="2393473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100" fill="hold"/>
                                        <p:tgtEl>
                                          <p:spTgt spid="17"/>
                                        </p:tgtEl>
                                        <p:attrNameLst>
                                          <p:attrName>ppt_w</p:attrName>
                                        </p:attrNameLst>
                                      </p:cBhvr>
                                      <p:tavLst>
                                        <p:tav tm="0">
                                          <p:val>
                                            <p:fltVal val="0"/>
                                          </p:val>
                                        </p:tav>
                                        <p:tav tm="100000">
                                          <p:val>
                                            <p:strVal val="#ppt_w"/>
                                          </p:val>
                                        </p:tav>
                                      </p:tavLst>
                                    </p:anim>
                                    <p:anim calcmode="lin" valueType="num">
                                      <p:cBhvr>
                                        <p:cTn id="8" dur="100" fill="hold"/>
                                        <p:tgtEl>
                                          <p:spTgt spid="17"/>
                                        </p:tgtEl>
                                        <p:attrNameLst>
                                          <p:attrName>ppt_h</p:attrName>
                                        </p:attrNameLst>
                                      </p:cBhvr>
                                      <p:tavLst>
                                        <p:tav tm="0">
                                          <p:val>
                                            <p:fltVal val="0"/>
                                          </p:val>
                                        </p:tav>
                                        <p:tav tm="100000">
                                          <p:val>
                                            <p:strVal val="#ppt_h"/>
                                          </p:val>
                                        </p:tav>
                                      </p:tavLst>
                                    </p:anim>
                                    <p:animEffect transition="in" filter="fade">
                                      <p:cBhvr>
                                        <p:cTn id="9" dur="1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84D6F0-FBB2-4701-BB31-52DBDFB315D1}"/>
              </a:ext>
            </a:extLst>
          </p:cNvPr>
          <p:cNvSpPr>
            <a:spLocks noGrp="1"/>
          </p:cNvSpPr>
          <p:nvPr>
            <p:ph type="title"/>
          </p:nvPr>
        </p:nvSpPr>
        <p:spPr/>
        <p:txBody>
          <a:bodyPr/>
          <a:lstStyle/>
          <a:p>
            <a:r>
              <a:rPr lang="en-US"/>
              <a:t>Q&amp;A</a:t>
            </a:r>
          </a:p>
        </p:txBody>
      </p:sp>
      <p:pic>
        <p:nvPicPr>
          <p:cNvPr id="5" name="Graphic 4" descr="Astronaut">
            <a:extLst>
              <a:ext uri="{FF2B5EF4-FFF2-40B4-BE49-F238E27FC236}">
                <a16:creationId xmlns:a16="http://schemas.microsoft.com/office/drawing/2014/main" id="{C93DC3DF-A1B2-47FD-BACD-B6095C42C03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484307" y="2058115"/>
            <a:ext cx="2980587" cy="2980587"/>
          </a:xfrm>
          <a:prstGeom prst="rect">
            <a:avLst/>
          </a:prstGeom>
        </p:spPr>
      </p:pic>
      <p:sp>
        <p:nvSpPr>
          <p:cNvPr id="6" name="Rectangle 5">
            <a:extLst>
              <a:ext uri="{FF2B5EF4-FFF2-40B4-BE49-F238E27FC236}">
                <a16:creationId xmlns:a16="http://schemas.microsoft.com/office/drawing/2014/main" id="{9B2F9D9F-E73C-4292-B534-AC29C10E4C05}"/>
              </a:ext>
            </a:extLst>
          </p:cNvPr>
          <p:cNvSpPr/>
          <p:nvPr/>
        </p:nvSpPr>
        <p:spPr>
          <a:xfrm>
            <a:off x="3953304" y="4854131"/>
            <a:ext cx="4042591" cy="369140"/>
          </a:xfrm>
          <a:prstGeom prst="rect">
            <a:avLst/>
          </a:prstGeom>
        </p:spPr>
        <p:txBody>
          <a:bodyPr wrap="none">
            <a:spAutoFit/>
          </a:bodyPr>
          <a:lstStyle/>
          <a:p>
            <a:r>
              <a:rPr lang="en-US" sz="1799" b="1"/>
              <a:t>Houston, we have some questions!</a:t>
            </a:r>
            <a:endParaRPr lang="de-DE" sz="1799" b="1"/>
          </a:p>
        </p:txBody>
      </p:sp>
    </p:spTree>
    <p:extLst>
      <p:ext uri="{BB962C8B-B14F-4D97-AF65-F5344CB8AC3E}">
        <p14:creationId xmlns:p14="http://schemas.microsoft.com/office/powerpoint/2010/main" val="5042596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py">
            <a:extLst>
              <a:ext uri="{FF2B5EF4-FFF2-40B4-BE49-F238E27FC236}">
                <a16:creationId xmlns:a16="http://schemas.microsoft.com/office/drawing/2014/main" id="{FCC9C521-9C98-425D-8A44-C88867903CC8}"/>
              </a:ext>
            </a:extLst>
          </p:cNvPr>
          <p:cNvSpPr>
            <a:spLocks noGrp="1"/>
          </p:cNvSpPr>
          <p:nvPr>
            <p:ph sz="half" idx="4294967295"/>
          </p:nvPr>
        </p:nvSpPr>
        <p:spPr>
          <a:xfrm>
            <a:off x="1371600" y="1206624"/>
            <a:ext cx="4875088" cy="4752975"/>
          </a:xfrm>
        </p:spPr>
        <p:txBody>
          <a:bodyPr vert="horz" lIns="0" tIns="0" rIns="0" bIns="0" rtlCol="0">
            <a:normAutofit/>
          </a:bodyPr>
          <a:lstStyle/>
          <a:p>
            <a:r>
              <a:rPr lang="nl-NL" b="1" dirty="0"/>
              <a:t>Kennismaking </a:t>
            </a:r>
          </a:p>
          <a:p>
            <a:pPr marL="0" lvl="1" indent="0">
              <a:buFont typeface="Arial" panose="020B0604020202020204" pitchFamily="34" charset="0"/>
              <a:buNone/>
            </a:pPr>
            <a:r>
              <a:rPr lang="nl-NL" dirty="0"/>
              <a:t>Meike de Backker</a:t>
            </a:r>
          </a:p>
          <a:p>
            <a:pPr marL="0" lvl="1" indent="0">
              <a:buFont typeface="Arial" panose="020B0604020202020204" pitchFamily="34" charset="0"/>
              <a:buNone/>
            </a:pPr>
            <a:r>
              <a:rPr lang="nl-NL" dirty="0"/>
              <a:t>Accountmanagement &amp; Marketing SITRAIN </a:t>
            </a:r>
          </a:p>
          <a:p>
            <a:pPr marL="0" lvl="1" indent="0">
              <a:buFont typeface="Arial" panose="020B0604020202020204" pitchFamily="34" charset="0"/>
              <a:buNone/>
            </a:pPr>
            <a:endParaRPr lang="nl-NL" dirty="0"/>
          </a:p>
          <a:p>
            <a:pPr marL="0" lvl="1" indent="0">
              <a:buFont typeface="Arial" panose="020B0604020202020204" pitchFamily="34" charset="0"/>
              <a:buNone/>
            </a:pPr>
            <a:r>
              <a:rPr lang="nl-NL" b="1" dirty="0"/>
              <a:t>Achtergrond</a:t>
            </a:r>
          </a:p>
          <a:p>
            <a:pPr marL="0" lvl="1" indent="0">
              <a:buFont typeface="Arial" panose="020B0604020202020204" pitchFamily="34" charset="0"/>
              <a:buNone/>
            </a:pPr>
            <a:r>
              <a:rPr lang="nl-NL" dirty="0"/>
              <a:t>Bedrijfskunde</a:t>
            </a:r>
          </a:p>
          <a:p>
            <a:pPr marL="0" lvl="1" indent="0">
              <a:buFont typeface="Arial" panose="020B0604020202020204" pitchFamily="34" charset="0"/>
              <a:buNone/>
            </a:pPr>
            <a:r>
              <a:rPr lang="nl-NL" dirty="0"/>
              <a:t>Arbeidsbemiddeling / Ontwikkeling </a:t>
            </a:r>
            <a:r>
              <a:rPr lang="nl-NL" dirty="0" err="1"/>
              <a:t>traineeships</a:t>
            </a:r>
            <a:endParaRPr lang="nl-NL" dirty="0"/>
          </a:p>
          <a:p>
            <a:pPr marL="0" lvl="1" indent="0">
              <a:buFont typeface="Arial" panose="020B0604020202020204" pitchFamily="34" charset="0"/>
              <a:buNone/>
            </a:pPr>
            <a:endParaRPr lang="nl-NL" dirty="0"/>
          </a:p>
          <a:p>
            <a:pPr marL="0" lvl="1" indent="0">
              <a:buFont typeface="Arial" panose="020B0604020202020204" pitchFamily="34" charset="0"/>
              <a:buNone/>
            </a:pPr>
            <a:r>
              <a:rPr lang="nl-NL" b="1" dirty="0"/>
              <a:t>Contact</a:t>
            </a:r>
          </a:p>
          <a:p>
            <a:pPr marL="0" lvl="1" indent="0">
              <a:buFont typeface="Arial" panose="020B0604020202020204" pitchFamily="34" charset="0"/>
              <a:buNone/>
            </a:pPr>
            <a:r>
              <a:rPr lang="nl-NL" dirty="0">
                <a:hlinkClick r:id="rId3"/>
              </a:rPr>
              <a:t>Meike.debackker@siemens.com</a:t>
            </a:r>
            <a:endParaRPr lang="nl-NL" dirty="0"/>
          </a:p>
          <a:p>
            <a:pPr marL="0" lvl="1" indent="0">
              <a:buFont typeface="Arial" panose="020B0604020202020204" pitchFamily="34" charset="0"/>
              <a:buNone/>
            </a:pPr>
            <a:r>
              <a:rPr lang="nl-NL" dirty="0"/>
              <a:t>06-57863288</a:t>
            </a:r>
          </a:p>
          <a:p>
            <a:pPr marL="0" lvl="1" indent="0">
              <a:buFont typeface="Arial" panose="020B0604020202020204" pitchFamily="34" charset="0"/>
              <a:buNone/>
            </a:pPr>
            <a:br>
              <a:rPr lang="nl-NL" dirty="0"/>
            </a:br>
            <a:endParaRPr lang="nl-NL" dirty="0"/>
          </a:p>
          <a:p>
            <a:pPr marL="0" lvl="1" indent="0">
              <a:buFont typeface="Arial" panose="020B0604020202020204" pitchFamily="34" charset="0"/>
              <a:buNone/>
            </a:pPr>
            <a:endParaRPr lang="nl-NL" b="1" dirty="0"/>
          </a:p>
          <a:p>
            <a:pPr marL="0" lvl="1" indent="0">
              <a:buFont typeface="Arial" panose="020B0604020202020204" pitchFamily="34" charset="0"/>
              <a:buNone/>
            </a:pPr>
            <a:endParaRPr lang="nl-NL" dirty="0"/>
          </a:p>
          <a:p>
            <a:pPr marL="0" lvl="1" indent="0">
              <a:buFont typeface="Arial" panose="020B0604020202020204" pitchFamily="34" charset="0"/>
              <a:buNone/>
            </a:pPr>
            <a:endParaRPr lang="nl-NL" dirty="0"/>
          </a:p>
          <a:p>
            <a:pPr marL="179705" lvl="1" indent="-179705"/>
            <a:endParaRPr lang="nl-NL" dirty="0"/>
          </a:p>
          <a:p>
            <a:pPr marL="0" lvl="1" indent="0">
              <a:buFont typeface="Arial" panose="020B0604020202020204" pitchFamily="34" charset="0"/>
              <a:buNone/>
            </a:pPr>
            <a:endParaRPr lang="nl-NL" dirty="0"/>
          </a:p>
        </p:txBody>
      </p:sp>
      <p:pic>
        <p:nvPicPr>
          <p:cNvPr id="10" name="Tijdelijke aanduiding voor inhoud 9">
            <a:extLst>
              <a:ext uri="{FF2B5EF4-FFF2-40B4-BE49-F238E27FC236}">
                <a16:creationId xmlns:a16="http://schemas.microsoft.com/office/drawing/2014/main" id="{A907B87B-3BF2-5728-F403-C07771C9F800}"/>
              </a:ext>
            </a:extLst>
          </p:cNvPr>
          <p:cNvPicPr>
            <a:picLocks noGrp="1" noChangeAspect="1"/>
          </p:cNvPicPr>
          <p:nvPr>
            <p:ph sz="half" idx="4294967295"/>
          </p:nvPr>
        </p:nvPicPr>
        <p:blipFill rotWithShape="1">
          <a:blip r:embed="rId4"/>
          <a:srcRect l="-435" t="3957" r="435" b="31954"/>
          <a:stretch/>
        </p:blipFill>
        <p:spPr>
          <a:xfrm>
            <a:off x="6556669" y="1206624"/>
            <a:ext cx="4042836" cy="3883631"/>
          </a:xfrm>
        </p:spPr>
      </p:pic>
      <p:sp>
        <p:nvSpPr>
          <p:cNvPr id="5" name="Footer Placeholder 5">
            <a:extLst>
              <a:ext uri="{FF2B5EF4-FFF2-40B4-BE49-F238E27FC236}">
                <a16:creationId xmlns:a16="http://schemas.microsoft.com/office/drawing/2014/main" id="{DDDB5781-31D0-B355-C18E-572B399F7F11}"/>
              </a:ext>
            </a:extLst>
          </p:cNvPr>
          <p:cNvSpPr txBox="1">
            <a:spLocks/>
          </p:cNvSpPr>
          <p:nvPr/>
        </p:nvSpPr>
        <p:spPr>
          <a:xfrm>
            <a:off x="1059160" y="6310800"/>
            <a:ext cx="9216000" cy="547200"/>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t>Unrestricted | © Siemens 2023 | Industrial AI</a:t>
            </a:r>
          </a:p>
        </p:txBody>
      </p:sp>
    </p:spTree>
    <p:extLst>
      <p:ext uri="{BB962C8B-B14F-4D97-AF65-F5344CB8AC3E}">
        <p14:creationId xmlns:p14="http://schemas.microsoft.com/office/powerpoint/2010/main" val="35234178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385DACC-F6E8-4A96-98F3-4DAE7F1FF6FD}"/>
              </a:ext>
            </a:extLst>
          </p:cNvPr>
          <p:cNvGraphicFramePr>
            <a:graphicFrameLocks noChangeAspect="1"/>
          </p:cNvGraphicFramePr>
          <p:nvPr>
            <p:custDataLst>
              <p:tags r:id="rId1"/>
            </p:custDataLst>
          </p:nvPr>
        </p:nvGraphicFramePr>
        <p:xfrm>
          <a:off x="4761" y="3372"/>
          <a:ext cx="1587" cy="1587"/>
        </p:xfrm>
        <a:graphic>
          <a:graphicData uri="http://schemas.openxmlformats.org/presentationml/2006/ole">
            <mc:AlternateContent xmlns:mc="http://schemas.openxmlformats.org/markup-compatibility/2006">
              <mc:Choice xmlns:v="urn:schemas-microsoft-com:vml" Requires="v">
                <p:oleObj name="think-cell Folie" r:id="rId6" imgW="306" imgH="306" progId="TCLayout.ActiveDocument.1">
                  <p:embed/>
                </p:oleObj>
              </mc:Choice>
              <mc:Fallback>
                <p:oleObj name="think-cell Folie" r:id="rId6" imgW="306" imgH="306" progId="TCLayout.ActiveDocument.1">
                  <p:embed/>
                  <p:pic>
                    <p:nvPicPr>
                      <p:cNvPr id="9" name="Objekt 8" hidden="1">
                        <a:extLst>
                          <a:ext uri="{FF2B5EF4-FFF2-40B4-BE49-F238E27FC236}">
                            <a16:creationId xmlns:a16="http://schemas.microsoft.com/office/drawing/2014/main" id="{0385DACC-F6E8-4A96-98F3-4DAE7F1FF6FD}"/>
                          </a:ext>
                        </a:extLst>
                      </p:cNvPr>
                      <p:cNvPicPr/>
                      <p:nvPr/>
                    </p:nvPicPr>
                    <p:blipFill>
                      <a:blip r:embed="rId7"/>
                      <a:stretch>
                        <a:fillRect/>
                      </a:stretch>
                    </p:blipFill>
                    <p:spPr>
                      <a:xfrm>
                        <a:off x="4761" y="3372"/>
                        <a:ext cx="1587" cy="1587"/>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D7B398A8-FFD7-4913-B5B8-AA44CB499F99}"/>
              </a:ext>
            </a:extLst>
          </p:cNvPr>
          <p:cNvPicPr>
            <a:picLocks noChangeAspect="1"/>
          </p:cNvPicPr>
          <p:nvPr/>
        </p:nvPicPr>
        <p:blipFill>
          <a:blip r:embed="rId8"/>
          <a:stretch>
            <a:fillRect/>
          </a:stretch>
        </p:blipFill>
        <p:spPr>
          <a:xfrm>
            <a:off x="3171" y="1596291"/>
            <a:ext cx="5262679" cy="4752405"/>
          </a:xfrm>
          <a:prstGeom prst="rect">
            <a:avLst/>
          </a:prstGeom>
        </p:spPr>
      </p:pic>
      <p:sp>
        <p:nvSpPr>
          <p:cNvPr id="13" name="Rechteck 12">
            <a:extLst>
              <a:ext uri="{FF2B5EF4-FFF2-40B4-BE49-F238E27FC236}">
                <a16:creationId xmlns:a16="http://schemas.microsoft.com/office/drawing/2014/main" id="{5FB85CBF-D70D-4D04-A2D6-B9B9EF962B2F}"/>
              </a:ext>
            </a:extLst>
          </p:cNvPr>
          <p:cNvSpPr/>
          <p:nvPr/>
        </p:nvSpPr>
        <p:spPr bwMode="auto">
          <a:xfrm rot="5400000">
            <a:off x="1179691" y="2260635"/>
            <a:ext cx="4748913" cy="3427212"/>
          </a:xfrm>
          <a:prstGeom prst="rect">
            <a:avLst/>
          </a:prstGeom>
          <a:gradFill>
            <a:gsLst>
              <a:gs pos="0">
                <a:schemeClr val="bg1"/>
              </a:gs>
              <a:gs pos="100000">
                <a:schemeClr val="bg1">
                  <a:alpha val="0"/>
                </a:schemeClr>
              </a:gs>
            </a:gsLst>
            <a:lin ang="5400000" scaled="1"/>
          </a:gra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GB" sz="1799">
              <a:ea typeface="Arial Unicode MS" panose="020B0604020202020204" pitchFamily="34" charset="-128"/>
              <a:cs typeface="Arial Unicode MS" panose="020B0604020202020204" pitchFamily="34" charset="-128"/>
            </a:endParaRPr>
          </a:p>
        </p:txBody>
      </p:sp>
      <p:grpSp>
        <p:nvGrpSpPr>
          <p:cNvPr id="7" name="Gruppieren 6">
            <a:extLst>
              <a:ext uri="{FF2B5EF4-FFF2-40B4-BE49-F238E27FC236}">
                <a16:creationId xmlns:a16="http://schemas.microsoft.com/office/drawing/2014/main" id="{3AF11978-CDD7-4F39-90B2-0673524A0485}"/>
              </a:ext>
            </a:extLst>
          </p:cNvPr>
          <p:cNvGrpSpPr/>
          <p:nvPr/>
        </p:nvGrpSpPr>
        <p:grpSpPr>
          <a:xfrm>
            <a:off x="5804050" y="2469516"/>
            <a:ext cx="5905603" cy="2712307"/>
            <a:chOff x="5803896" y="1681846"/>
            <a:chExt cx="5908679" cy="2713720"/>
          </a:xfrm>
        </p:grpSpPr>
        <p:sp>
          <p:nvSpPr>
            <p:cNvPr id="18" name="Rectangle 116">
              <a:extLst>
                <a:ext uri="{FF2B5EF4-FFF2-40B4-BE49-F238E27FC236}">
                  <a16:creationId xmlns:a16="http://schemas.microsoft.com/office/drawing/2014/main" id="{43D08B76-EDC9-434C-A610-689E920990F2}"/>
                </a:ext>
              </a:extLst>
            </p:cNvPr>
            <p:cNvSpPr txBox="1">
              <a:spLocks noChangeArrowheads="1"/>
            </p:cNvSpPr>
            <p:nvPr>
              <p:custDataLst>
                <p:tags r:id="rId2"/>
              </p:custDataLst>
            </p:nvPr>
          </p:nvSpPr>
          <p:spPr bwMode="auto">
            <a:xfrm>
              <a:off x="6315075" y="1681846"/>
              <a:ext cx="5397500" cy="147732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ct val="0"/>
                </a:spcBef>
                <a:spcAft>
                  <a:spcPct val="0"/>
                </a:spcAft>
                <a:buFont typeface="Wingdings" pitchFamily="2" charset="2"/>
                <a:tabLst/>
                <a:defRPr sz="1200">
                  <a:solidFill>
                    <a:schemeClr val="tx1"/>
                  </a:solidFill>
                  <a:latin typeface="Arial" pitchFamily="34" charset="0"/>
                  <a:ea typeface="+mn-ea"/>
                  <a:cs typeface="Arial" pitchFamily="34" charset="0"/>
                </a:defRPr>
              </a:lvl1pPr>
              <a:lvl2pPr marL="13335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2pPr>
              <a:lvl3pPr marL="26670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3pPr>
              <a:lvl4pPr marL="40005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4pPr>
              <a:lvl5pPr marL="53340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spcBef>
                  <a:spcPts val="0"/>
                </a:spcBef>
              </a:pPr>
              <a:r>
                <a:rPr lang="en-GB" sz="3198" i="1" kern="0" dirty="0"/>
                <a:t>With AI, we enhance our solution capabilities for automation. </a:t>
              </a:r>
            </a:p>
          </p:txBody>
        </p:sp>
        <p:sp>
          <p:nvSpPr>
            <p:cNvPr id="24" name="Rectangle 116">
              <a:extLst>
                <a:ext uri="{FF2B5EF4-FFF2-40B4-BE49-F238E27FC236}">
                  <a16:creationId xmlns:a16="http://schemas.microsoft.com/office/drawing/2014/main" id="{155FAF3C-9C6B-40B7-BC47-35609E007419}"/>
                </a:ext>
              </a:extLst>
            </p:cNvPr>
            <p:cNvSpPr txBox="1">
              <a:spLocks noChangeArrowheads="1"/>
            </p:cNvSpPr>
            <p:nvPr>
              <p:custDataLst>
                <p:tags r:id="rId3"/>
              </p:custDataLst>
            </p:nvPr>
          </p:nvSpPr>
          <p:spPr bwMode="auto">
            <a:xfrm>
              <a:off x="6315075" y="3903123"/>
              <a:ext cx="5006978"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rtl="0" eaLnBrk="1" fontAlgn="base" hangingPunct="1">
                <a:lnSpc>
                  <a:spcPct val="100000"/>
                </a:lnSpc>
                <a:spcBef>
                  <a:spcPct val="0"/>
                </a:spcBef>
                <a:spcAft>
                  <a:spcPct val="0"/>
                </a:spcAft>
                <a:buFont typeface="Wingdings" pitchFamily="2" charset="2"/>
                <a:tabLst/>
                <a:defRPr sz="1200">
                  <a:solidFill>
                    <a:schemeClr val="tx1"/>
                  </a:solidFill>
                  <a:latin typeface="Arial" pitchFamily="34" charset="0"/>
                  <a:ea typeface="+mn-ea"/>
                  <a:cs typeface="Arial" pitchFamily="34" charset="0"/>
                </a:defRPr>
              </a:lvl1pPr>
              <a:lvl2pPr marL="13335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2pPr>
              <a:lvl3pPr marL="26670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3pPr>
              <a:lvl4pPr marL="40005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4pPr>
              <a:lvl5pPr marL="533400" indent="-133350" algn="l" rtl="0" eaLnBrk="1" fontAlgn="base" hangingPunct="1">
                <a:lnSpc>
                  <a:spcPct val="100000"/>
                </a:lnSpc>
                <a:spcBef>
                  <a:spcPct val="0"/>
                </a:spcBef>
                <a:spcAft>
                  <a:spcPct val="0"/>
                </a:spcAft>
                <a:buClr>
                  <a:srgbClr val="879BAA"/>
                </a:buClr>
                <a:buChar char="•"/>
                <a:tabLst/>
                <a:defRPr sz="120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spcBef>
                  <a:spcPts val="0"/>
                </a:spcBef>
              </a:pPr>
              <a:r>
                <a:rPr lang="en-GB" sz="3198" b="1" kern="0"/>
                <a:t>Alan Turing</a:t>
              </a:r>
            </a:p>
          </p:txBody>
        </p:sp>
        <p:cxnSp>
          <p:nvCxnSpPr>
            <p:cNvPr id="5" name="Gerader Verbinder 4">
              <a:extLst>
                <a:ext uri="{FF2B5EF4-FFF2-40B4-BE49-F238E27FC236}">
                  <a16:creationId xmlns:a16="http://schemas.microsoft.com/office/drawing/2014/main" id="{83CFAF95-20F8-427A-A6E9-67A7C4DC57B8}"/>
                </a:ext>
              </a:extLst>
            </p:cNvPr>
            <p:cNvCxnSpPr/>
            <p:nvPr/>
          </p:nvCxnSpPr>
          <p:spPr bwMode="auto">
            <a:xfrm>
              <a:off x="5803896" y="3777370"/>
              <a:ext cx="5905504" cy="0"/>
            </a:xfrm>
            <a:prstGeom prst="line">
              <a:avLst/>
            </a:prstGeom>
            <a:solidFill>
              <a:schemeClr val="tx2"/>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 name="Footer Placeholder 5">
            <a:extLst>
              <a:ext uri="{FF2B5EF4-FFF2-40B4-BE49-F238E27FC236}">
                <a16:creationId xmlns:a16="http://schemas.microsoft.com/office/drawing/2014/main" id="{C81D1373-DE0B-31FF-0ABC-D63330CF4B9C}"/>
              </a:ext>
            </a:extLst>
          </p:cNvPr>
          <p:cNvSpPr txBox="1">
            <a:spLocks/>
          </p:cNvSpPr>
          <p:nvPr/>
        </p:nvSpPr>
        <p:spPr>
          <a:xfrm>
            <a:off x="1059160" y="6310800"/>
            <a:ext cx="9216000" cy="547200"/>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t>Unrestricted | © Siemens 2023 | Industrial AI</a:t>
            </a:r>
          </a:p>
        </p:txBody>
      </p:sp>
    </p:spTree>
    <p:extLst>
      <p:ext uri="{BB962C8B-B14F-4D97-AF65-F5344CB8AC3E}">
        <p14:creationId xmlns:p14="http://schemas.microsoft.com/office/powerpoint/2010/main" val="4077656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BD42DDA-916B-4259-9834-C98ED28597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4BD42DDA-916B-4259-9834-C98ED2859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A306D4C-19A5-4E02-89D9-41C2E481995A}"/>
              </a:ext>
            </a:extLst>
          </p:cNvPr>
          <p:cNvSpPr>
            <a:spLocks noGrp="1"/>
          </p:cNvSpPr>
          <p:nvPr>
            <p:ph type="title"/>
          </p:nvPr>
        </p:nvSpPr>
        <p:spPr>
          <a:xfrm>
            <a:off x="410400" y="478800"/>
            <a:ext cx="9863997" cy="576000"/>
          </a:xfrm>
        </p:spPr>
        <p:txBody>
          <a:bodyPr vert="horz"/>
          <a:lstStyle/>
          <a:p>
            <a:r>
              <a:rPr lang="en-US"/>
              <a:t> The importance of </a:t>
            </a:r>
            <a:r>
              <a:rPr lang="en-US">
                <a:solidFill>
                  <a:schemeClr val="accent3"/>
                </a:solidFill>
              </a:rPr>
              <a:t>A</a:t>
            </a:r>
            <a:r>
              <a:rPr lang="en-US"/>
              <a:t>rtificial </a:t>
            </a:r>
            <a:r>
              <a:rPr lang="en-US">
                <a:solidFill>
                  <a:schemeClr val="accent3"/>
                </a:solidFill>
              </a:rPr>
              <a:t>I</a:t>
            </a:r>
            <a:r>
              <a:rPr lang="en-US"/>
              <a:t>ntelligence (</a:t>
            </a:r>
            <a:r>
              <a:rPr lang="en-US">
                <a:solidFill>
                  <a:schemeClr val="accent3"/>
                </a:solidFill>
              </a:rPr>
              <a:t>AI</a:t>
            </a:r>
            <a:r>
              <a:rPr lang="en-US"/>
              <a:t>) for the industry is growing</a:t>
            </a:r>
          </a:p>
        </p:txBody>
      </p:sp>
      <p:cxnSp>
        <p:nvCxnSpPr>
          <p:cNvPr id="15" name="Gerader Verbinder 14">
            <a:extLst>
              <a:ext uri="{FF2B5EF4-FFF2-40B4-BE49-F238E27FC236}">
                <a16:creationId xmlns:a16="http://schemas.microsoft.com/office/drawing/2014/main" id="{54EAD0AA-D766-45DD-8483-C92ECC35D25A}"/>
              </a:ext>
            </a:extLst>
          </p:cNvPr>
          <p:cNvCxnSpPr>
            <a:cxnSpLocks/>
          </p:cNvCxnSpPr>
          <p:nvPr/>
        </p:nvCxnSpPr>
        <p:spPr>
          <a:xfrm>
            <a:off x="0" y="3133882"/>
            <a:ext cx="12192000" cy="0"/>
          </a:xfrm>
          <a:prstGeom prst="line">
            <a:avLst/>
          </a:prstGeom>
          <a:ln w="12700">
            <a:solidFill>
              <a:schemeClr val="accent3"/>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43AF7182-F275-4BA5-9B94-5B22125F6F05}"/>
              </a:ext>
            </a:extLst>
          </p:cNvPr>
          <p:cNvSpPr txBox="1"/>
          <p:nvPr/>
        </p:nvSpPr>
        <p:spPr>
          <a:xfrm>
            <a:off x="411983" y="6028939"/>
            <a:ext cx="11375205" cy="138499"/>
          </a:xfrm>
          <a:prstGeom prst="rect">
            <a:avLst/>
          </a:prstGeom>
          <a:noFill/>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900" b="1">
                <a:ea typeface="+mn-lt"/>
                <a:cs typeface="+mn-lt"/>
              </a:rPr>
              <a:t>Source: </a:t>
            </a:r>
            <a:r>
              <a:rPr lang="en-US" sz="900">
                <a:ea typeface="+mn-lt"/>
                <a:cs typeface="+mn-lt"/>
              </a:rPr>
              <a:t>IoT Analytics: “Industrial AI and </a:t>
            </a:r>
            <a:r>
              <a:rPr lang="en-US" sz="900" noProof="1">
                <a:ea typeface="+mn-lt"/>
                <a:cs typeface="+mn-lt"/>
              </a:rPr>
              <a:t>AIoT</a:t>
            </a:r>
            <a:r>
              <a:rPr lang="en-US" sz="900">
                <a:ea typeface="+mn-lt"/>
                <a:cs typeface="+mn-lt"/>
              </a:rPr>
              <a:t> Market Report 2021 – 2026” (2021)</a:t>
            </a:r>
          </a:p>
        </p:txBody>
      </p:sp>
      <p:sp>
        <p:nvSpPr>
          <p:cNvPr id="18" name="Rechteck 17">
            <a:extLst>
              <a:ext uri="{FF2B5EF4-FFF2-40B4-BE49-F238E27FC236}">
                <a16:creationId xmlns:a16="http://schemas.microsoft.com/office/drawing/2014/main" id="{12625E03-8BE9-4A31-994A-89573AD10F25}"/>
              </a:ext>
            </a:extLst>
          </p:cNvPr>
          <p:cNvSpPr>
            <a:spLocks/>
          </p:cNvSpPr>
          <p:nvPr/>
        </p:nvSpPr>
        <p:spPr>
          <a:xfrm>
            <a:off x="8189295" y="3345946"/>
            <a:ext cx="3601067"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lvl="1" algn="ctr">
              <a:buSzPts val="1000"/>
              <a:tabLst>
                <a:tab pos="914400" algn="l"/>
              </a:tabLst>
            </a:pPr>
            <a:r>
              <a:rPr lang="en-US" altLang="de-DE" sz="2000">
                <a:solidFill>
                  <a:schemeClr val="accent3"/>
                </a:solidFill>
                <a:cs typeface="Times New Roman"/>
              </a:rPr>
              <a:t>Asia Pacific, North America</a:t>
            </a:r>
            <a:br>
              <a:rPr lang="en-US" altLang="de-DE" sz="2000">
                <a:solidFill>
                  <a:schemeClr val="accent3"/>
                </a:solidFill>
                <a:cs typeface="Times New Roman"/>
              </a:rPr>
            </a:br>
            <a:r>
              <a:rPr lang="en-US" altLang="de-DE" sz="1600"/>
              <a:t>and </a:t>
            </a:r>
            <a:r>
              <a:rPr lang="en-US" altLang="de-DE" sz="2000">
                <a:solidFill>
                  <a:schemeClr val="accent3"/>
                </a:solidFill>
                <a:cs typeface="Times New Roman"/>
              </a:rPr>
              <a:t>Europe </a:t>
            </a:r>
            <a:r>
              <a:rPr lang="en-US" altLang="de-DE" sz="1600"/>
              <a:t>are</a:t>
            </a:r>
            <a:r>
              <a:rPr lang="en-US" altLang="de-DE" sz="2000">
                <a:solidFill>
                  <a:schemeClr val="accent3"/>
                </a:solidFill>
                <a:cs typeface="Times New Roman"/>
              </a:rPr>
              <a:t> </a:t>
            </a:r>
            <a:r>
              <a:rPr lang="en-US" altLang="de-DE" sz="1600"/>
              <a:t>leading in AI in</a:t>
            </a:r>
            <a:br>
              <a:rPr lang="en-US" altLang="de-DE" sz="1600"/>
            </a:br>
            <a:r>
              <a:rPr lang="en-US" altLang="de-DE" sz="1600"/>
              <a:t>the manufacturing landscape with </a:t>
            </a:r>
            <a:r>
              <a:rPr lang="en-US" altLang="de-DE" sz="1600" b="0"/>
              <a:t>&gt;80% market size in 2021</a:t>
            </a:r>
          </a:p>
        </p:txBody>
      </p:sp>
      <p:sp>
        <p:nvSpPr>
          <p:cNvPr id="19" name="Rechteck 18">
            <a:extLst>
              <a:ext uri="{FF2B5EF4-FFF2-40B4-BE49-F238E27FC236}">
                <a16:creationId xmlns:a16="http://schemas.microsoft.com/office/drawing/2014/main" id="{57C198C0-0367-4656-A3AA-2858C5D50BFF}"/>
              </a:ext>
            </a:extLst>
          </p:cNvPr>
          <p:cNvSpPr>
            <a:spLocks/>
          </p:cNvSpPr>
          <p:nvPr/>
        </p:nvSpPr>
        <p:spPr>
          <a:xfrm>
            <a:off x="411164" y="3345946"/>
            <a:ext cx="3601067" cy="1077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lvl="1" algn="ctr">
              <a:buSzPts val="1000"/>
              <a:tabLst>
                <a:tab pos="914400" algn="l"/>
              </a:tabLst>
            </a:pPr>
            <a:r>
              <a:rPr lang="en-US" sz="2000">
                <a:solidFill>
                  <a:schemeClr val="accent3"/>
                </a:solidFill>
                <a:cs typeface="Times New Roman"/>
              </a:rPr>
              <a:t>80 billion Euros </a:t>
            </a:r>
            <a:br>
              <a:rPr lang="en-US" sz="2800" b="1">
                <a:solidFill>
                  <a:srgbClr val="00D7A0"/>
                </a:solidFill>
                <a:cs typeface="Times New Roman"/>
              </a:rPr>
            </a:br>
            <a:r>
              <a:rPr lang="en-US" sz="1600">
                <a:cs typeface="Times New Roman"/>
              </a:rPr>
              <a:t>is forecast to be the global</a:t>
            </a:r>
            <a:br>
              <a:rPr lang="en-US" sz="1600">
                <a:cs typeface="Times New Roman"/>
              </a:rPr>
            </a:br>
            <a:r>
              <a:rPr lang="en-US" sz="1600">
                <a:cs typeface="Times New Roman"/>
              </a:rPr>
              <a:t>market of industrial AI by 2026, </a:t>
            </a:r>
            <a:br>
              <a:rPr lang="en-US" sz="1600">
                <a:cs typeface="Times New Roman"/>
              </a:rPr>
            </a:br>
            <a:r>
              <a:rPr lang="en-US" sz="1600">
                <a:cs typeface="Times New Roman"/>
              </a:rPr>
              <a:t>CAGR 21 – 26: 35%</a:t>
            </a:r>
          </a:p>
        </p:txBody>
      </p:sp>
      <p:sp>
        <p:nvSpPr>
          <p:cNvPr id="20" name="Rechteck 19">
            <a:extLst>
              <a:ext uri="{FF2B5EF4-FFF2-40B4-BE49-F238E27FC236}">
                <a16:creationId xmlns:a16="http://schemas.microsoft.com/office/drawing/2014/main" id="{241EF5C8-949F-489A-91FB-FA303A31B791}"/>
              </a:ext>
            </a:extLst>
          </p:cNvPr>
          <p:cNvSpPr>
            <a:spLocks/>
          </p:cNvSpPr>
          <p:nvPr/>
        </p:nvSpPr>
        <p:spPr>
          <a:xfrm>
            <a:off x="4300230" y="3345946"/>
            <a:ext cx="3601067" cy="1169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lvl="1" algn="ctr">
              <a:buSzPts val="1000"/>
              <a:tabLst>
                <a:tab pos="914400" algn="l"/>
              </a:tabLst>
            </a:pPr>
            <a:r>
              <a:rPr lang="en-US" sz="2000">
                <a:solidFill>
                  <a:schemeClr val="accent3"/>
                </a:solidFill>
                <a:cs typeface="Times New Roman"/>
              </a:rPr>
              <a:t>Product design, quality inspection </a:t>
            </a:r>
            <a:r>
              <a:rPr lang="en-US" sz="1600">
                <a:cs typeface="Times New Roman"/>
              </a:rPr>
              <a:t>and </a:t>
            </a:r>
            <a:r>
              <a:rPr lang="en-US" sz="2000">
                <a:solidFill>
                  <a:schemeClr val="accent3"/>
                </a:solidFill>
                <a:cs typeface="Times New Roman"/>
              </a:rPr>
              <a:t>process optimization </a:t>
            </a:r>
            <a:r>
              <a:rPr lang="en-US" sz="1600">
                <a:cs typeface="Times New Roman"/>
              </a:rPr>
              <a:t>are the top use cases for industrial AI in 2021</a:t>
            </a:r>
          </a:p>
        </p:txBody>
      </p:sp>
      <p:grpSp>
        <p:nvGrpSpPr>
          <p:cNvPr id="21" name="Gruppieren 20">
            <a:extLst>
              <a:ext uri="{FF2B5EF4-FFF2-40B4-BE49-F238E27FC236}">
                <a16:creationId xmlns:a16="http://schemas.microsoft.com/office/drawing/2014/main" id="{ACCFC8AE-913D-43AF-AA08-D5C6A44FD7AE}"/>
              </a:ext>
            </a:extLst>
          </p:cNvPr>
          <p:cNvGrpSpPr/>
          <p:nvPr/>
        </p:nvGrpSpPr>
        <p:grpSpPr>
          <a:xfrm>
            <a:off x="1723227" y="1918297"/>
            <a:ext cx="976940" cy="922588"/>
            <a:chOff x="2125053" y="2422792"/>
            <a:chExt cx="976940" cy="922588"/>
          </a:xfrm>
          <a:solidFill>
            <a:srgbClr val="FFFFFF"/>
          </a:solidFill>
        </p:grpSpPr>
        <p:grpSp>
          <p:nvGrpSpPr>
            <p:cNvPr id="22" name="Grafik 58">
              <a:extLst>
                <a:ext uri="{FF2B5EF4-FFF2-40B4-BE49-F238E27FC236}">
                  <a16:creationId xmlns:a16="http://schemas.microsoft.com/office/drawing/2014/main" id="{DC6E5FBE-EE8A-4769-8400-D92E04529EF6}"/>
                </a:ext>
              </a:extLst>
            </p:cNvPr>
            <p:cNvGrpSpPr/>
            <p:nvPr/>
          </p:nvGrpSpPr>
          <p:grpSpPr>
            <a:xfrm>
              <a:off x="2125053" y="2422792"/>
              <a:ext cx="817851" cy="922588"/>
              <a:chOff x="1962093" y="1581142"/>
              <a:chExt cx="1943958" cy="2192909"/>
            </a:xfrm>
            <a:grpFill/>
          </p:grpSpPr>
          <p:sp>
            <p:nvSpPr>
              <p:cNvPr id="24" name="Freihandform: Form 23">
                <a:extLst>
                  <a:ext uri="{FF2B5EF4-FFF2-40B4-BE49-F238E27FC236}">
                    <a16:creationId xmlns:a16="http://schemas.microsoft.com/office/drawing/2014/main" id="{F2878E2E-FD23-440A-948F-A339F4ED8C26}"/>
                  </a:ext>
                </a:extLst>
              </p:cNvPr>
              <p:cNvSpPr/>
              <p:nvPr/>
            </p:nvSpPr>
            <p:spPr>
              <a:xfrm>
                <a:off x="1962093" y="1581142"/>
                <a:ext cx="1943958" cy="1187674"/>
              </a:xfrm>
              <a:custGeom>
                <a:avLst/>
                <a:gdLst>
                  <a:gd name="connsiteX0" fmla="*/ 1403985 w 1943957"/>
                  <a:gd name="connsiteY0" fmla="*/ 1079754 h 1187672"/>
                  <a:gd name="connsiteX1" fmla="*/ 1403985 w 1943957"/>
                  <a:gd name="connsiteY1" fmla="*/ 1187672 h 1187672"/>
                  <a:gd name="connsiteX2" fmla="*/ 1943957 w 1943957"/>
                  <a:gd name="connsiteY2" fmla="*/ 636270 h 1187672"/>
                  <a:gd name="connsiteX3" fmla="*/ 1393698 w 1943957"/>
                  <a:gd name="connsiteY3" fmla="*/ 84582 h 1187672"/>
                  <a:gd name="connsiteX4" fmla="*/ 1217962 w 1943957"/>
                  <a:gd name="connsiteY4" fmla="*/ 113348 h 1187672"/>
                  <a:gd name="connsiteX5" fmla="*/ 929831 w 1943957"/>
                  <a:gd name="connsiteY5" fmla="*/ 0 h 1187672"/>
                  <a:gd name="connsiteX6" fmla="*/ 555498 w 1943957"/>
                  <a:gd name="connsiteY6" fmla="*/ 225362 h 1187672"/>
                  <a:gd name="connsiteX7" fmla="*/ 465963 w 1943957"/>
                  <a:gd name="connsiteY7" fmla="*/ 211455 h 1187672"/>
                  <a:gd name="connsiteX8" fmla="*/ 197644 w 1943957"/>
                  <a:gd name="connsiteY8" fmla="*/ 381191 h 1187672"/>
                  <a:gd name="connsiteX9" fmla="*/ 0 w 1943957"/>
                  <a:gd name="connsiteY9" fmla="*/ 593979 h 1187672"/>
                  <a:gd name="connsiteX10" fmla="*/ 212979 w 1943957"/>
                  <a:gd name="connsiteY10" fmla="*/ 807434 h 1187672"/>
                  <a:gd name="connsiteX11" fmla="*/ 328327 w 1943957"/>
                  <a:gd name="connsiteY11" fmla="*/ 773525 h 1187672"/>
                  <a:gd name="connsiteX12" fmla="*/ 447104 w 1943957"/>
                  <a:gd name="connsiteY12" fmla="*/ 806863 h 1187672"/>
                  <a:gd name="connsiteX13" fmla="*/ 701993 w 1943957"/>
                  <a:gd name="connsiteY13" fmla="*/ 1013365 h 1187672"/>
                  <a:gd name="connsiteX14" fmla="*/ 701993 w 1943957"/>
                  <a:gd name="connsiteY14" fmla="*/ 902875 h 1187672"/>
                  <a:gd name="connsiteX15" fmla="*/ 537782 w 1943957"/>
                  <a:gd name="connsiteY15" fmla="*/ 738664 h 1187672"/>
                  <a:gd name="connsiteX16" fmla="*/ 526161 w 1943957"/>
                  <a:gd name="connsiteY16" fmla="*/ 695135 h 1187672"/>
                  <a:gd name="connsiteX17" fmla="*/ 481203 w 1943957"/>
                  <a:gd name="connsiteY17" fmla="*/ 698849 h 1187672"/>
                  <a:gd name="connsiteX18" fmla="*/ 355949 w 1943957"/>
                  <a:gd name="connsiteY18" fmla="*/ 663988 h 1187672"/>
                  <a:gd name="connsiteX19" fmla="*/ 318897 w 1943957"/>
                  <a:gd name="connsiteY19" fmla="*/ 637223 h 1187672"/>
                  <a:gd name="connsiteX20" fmla="*/ 286417 w 1943957"/>
                  <a:gd name="connsiteY20" fmla="*/ 669417 h 1187672"/>
                  <a:gd name="connsiteX21" fmla="*/ 213074 w 1943957"/>
                  <a:gd name="connsiteY21" fmla="*/ 699516 h 1187672"/>
                  <a:gd name="connsiteX22" fmla="*/ 108109 w 1943957"/>
                  <a:gd name="connsiteY22" fmla="*/ 594074 h 1187672"/>
                  <a:gd name="connsiteX23" fmla="*/ 226981 w 1943957"/>
                  <a:gd name="connsiteY23" fmla="*/ 489585 h 1187672"/>
                  <a:gd name="connsiteX24" fmla="*/ 272225 w 1943957"/>
                  <a:gd name="connsiteY24" fmla="*/ 495681 h 1187672"/>
                  <a:gd name="connsiteX25" fmla="*/ 285750 w 1943957"/>
                  <a:gd name="connsiteY25" fmla="*/ 452057 h 1187672"/>
                  <a:gd name="connsiteX26" fmla="*/ 466058 w 1943957"/>
                  <a:gd name="connsiteY26" fmla="*/ 319469 h 1187672"/>
                  <a:gd name="connsiteX27" fmla="*/ 557213 w 1943957"/>
                  <a:gd name="connsiteY27" fmla="*/ 342995 h 1187672"/>
                  <a:gd name="connsiteX28" fmla="*/ 612267 w 1943957"/>
                  <a:gd name="connsiteY28" fmla="*/ 373285 h 1187672"/>
                  <a:gd name="connsiteX29" fmla="*/ 633889 w 1943957"/>
                  <a:gd name="connsiteY29" fmla="*/ 314325 h 1187672"/>
                  <a:gd name="connsiteX30" fmla="*/ 929926 w 1943957"/>
                  <a:gd name="connsiteY30" fmla="*/ 108014 h 1187672"/>
                  <a:gd name="connsiteX31" fmla="*/ 1164146 w 1943957"/>
                  <a:gd name="connsiteY31" fmla="*/ 212312 h 1187672"/>
                  <a:gd name="connsiteX32" fmla="*/ 1189673 w 1943957"/>
                  <a:gd name="connsiteY32" fmla="*/ 240697 h 1187672"/>
                  <a:gd name="connsiteX33" fmla="*/ 1225010 w 1943957"/>
                  <a:gd name="connsiteY33" fmla="*/ 226028 h 1187672"/>
                  <a:gd name="connsiteX34" fmla="*/ 1393793 w 1943957"/>
                  <a:gd name="connsiteY34" fmla="*/ 192500 h 1187672"/>
                  <a:gd name="connsiteX35" fmla="*/ 1836134 w 1943957"/>
                  <a:gd name="connsiteY35" fmla="*/ 636270 h 1187672"/>
                  <a:gd name="connsiteX36" fmla="*/ 1403985 w 1943957"/>
                  <a:gd name="connsiteY36" fmla="*/ 1079754 h 1187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43957" h="1187672">
                    <a:moveTo>
                      <a:pt x="1403985" y="1079754"/>
                    </a:moveTo>
                    <a:lnTo>
                      <a:pt x="1403985" y="1187672"/>
                    </a:lnTo>
                    <a:cubicBezTo>
                      <a:pt x="1702689" y="1182148"/>
                      <a:pt x="1943957" y="936974"/>
                      <a:pt x="1943957" y="636270"/>
                    </a:cubicBezTo>
                    <a:cubicBezTo>
                      <a:pt x="1943957" y="332042"/>
                      <a:pt x="1697069" y="84582"/>
                      <a:pt x="1393698" y="84582"/>
                    </a:cubicBezTo>
                    <a:cubicBezTo>
                      <a:pt x="1333214" y="84582"/>
                      <a:pt x="1274255" y="94202"/>
                      <a:pt x="1217962" y="113348"/>
                    </a:cubicBezTo>
                    <a:cubicBezTo>
                      <a:pt x="1140047" y="40958"/>
                      <a:pt x="1036987" y="0"/>
                      <a:pt x="929831" y="0"/>
                    </a:cubicBezTo>
                    <a:cubicBezTo>
                      <a:pt x="772097" y="0"/>
                      <a:pt x="627983" y="88583"/>
                      <a:pt x="555498" y="225362"/>
                    </a:cubicBezTo>
                    <a:cubicBezTo>
                      <a:pt x="526542" y="216218"/>
                      <a:pt x="496348" y="211455"/>
                      <a:pt x="465963" y="211455"/>
                    </a:cubicBezTo>
                    <a:cubicBezTo>
                      <a:pt x="349282" y="211455"/>
                      <a:pt x="246031" y="278130"/>
                      <a:pt x="197644" y="381191"/>
                    </a:cubicBezTo>
                    <a:cubicBezTo>
                      <a:pt x="87344" y="389001"/>
                      <a:pt x="0" y="481489"/>
                      <a:pt x="0" y="593979"/>
                    </a:cubicBezTo>
                    <a:cubicBezTo>
                      <a:pt x="0" y="711613"/>
                      <a:pt x="95536" y="807434"/>
                      <a:pt x="212979" y="807434"/>
                    </a:cubicBezTo>
                    <a:cubicBezTo>
                      <a:pt x="254508" y="807434"/>
                      <a:pt x="294323" y="795528"/>
                      <a:pt x="328327" y="773525"/>
                    </a:cubicBezTo>
                    <a:cubicBezTo>
                      <a:pt x="365189" y="792861"/>
                      <a:pt x="405670" y="804196"/>
                      <a:pt x="447104" y="806863"/>
                    </a:cubicBezTo>
                    <a:cubicBezTo>
                      <a:pt x="491109" y="914495"/>
                      <a:pt x="588264" y="992886"/>
                      <a:pt x="701993" y="1013365"/>
                    </a:cubicBezTo>
                    <a:lnTo>
                      <a:pt x="701993" y="902875"/>
                    </a:lnTo>
                    <a:cubicBezTo>
                      <a:pt x="623507" y="881729"/>
                      <a:pt x="559499" y="819722"/>
                      <a:pt x="537782" y="738664"/>
                    </a:cubicBezTo>
                    <a:lnTo>
                      <a:pt x="526161" y="695135"/>
                    </a:lnTo>
                    <a:lnTo>
                      <a:pt x="481203" y="698849"/>
                    </a:lnTo>
                    <a:cubicBezTo>
                      <a:pt x="436055" y="702564"/>
                      <a:pt x="392716" y="690563"/>
                      <a:pt x="355949" y="663988"/>
                    </a:cubicBezTo>
                    <a:lnTo>
                      <a:pt x="318897" y="637223"/>
                    </a:lnTo>
                    <a:lnTo>
                      <a:pt x="286417" y="669417"/>
                    </a:lnTo>
                    <a:cubicBezTo>
                      <a:pt x="266795" y="688848"/>
                      <a:pt x="240792" y="699516"/>
                      <a:pt x="213074" y="699516"/>
                    </a:cubicBezTo>
                    <a:cubicBezTo>
                      <a:pt x="155162" y="699516"/>
                      <a:pt x="108109" y="652177"/>
                      <a:pt x="108109" y="594074"/>
                    </a:cubicBezTo>
                    <a:cubicBezTo>
                      <a:pt x="108109" y="531400"/>
                      <a:pt x="162782" y="480822"/>
                      <a:pt x="226981" y="489585"/>
                    </a:cubicBezTo>
                    <a:lnTo>
                      <a:pt x="272225" y="495681"/>
                    </a:lnTo>
                    <a:lnTo>
                      <a:pt x="285750" y="452057"/>
                    </a:lnTo>
                    <a:cubicBezTo>
                      <a:pt x="310420" y="372713"/>
                      <a:pt x="382905" y="319469"/>
                      <a:pt x="466058" y="319469"/>
                    </a:cubicBezTo>
                    <a:cubicBezTo>
                      <a:pt x="497776" y="319469"/>
                      <a:pt x="529304" y="327565"/>
                      <a:pt x="557213" y="342995"/>
                    </a:cubicBezTo>
                    <a:lnTo>
                      <a:pt x="612267" y="373285"/>
                    </a:lnTo>
                    <a:lnTo>
                      <a:pt x="633889" y="314325"/>
                    </a:lnTo>
                    <a:cubicBezTo>
                      <a:pt x="679895" y="188976"/>
                      <a:pt x="796100" y="108014"/>
                      <a:pt x="929926" y="108014"/>
                    </a:cubicBezTo>
                    <a:cubicBezTo>
                      <a:pt x="1020413" y="108014"/>
                      <a:pt x="1103567" y="145066"/>
                      <a:pt x="1164146" y="212312"/>
                    </a:cubicBezTo>
                    <a:lnTo>
                      <a:pt x="1189673" y="240697"/>
                    </a:lnTo>
                    <a:lnTo>
                      <a:pt x="1225010" y="226028"/>
                    </a:lnTo>
                    <a:cubicBezTo>
                      <a:pt x="1278446" y="203835"/>
                      <a:pt x="1335214" y="192500"/>
                      <a:pt x="1393793" y="192500"/>
                    </a:cubicBezTo>
                    <a:cubicBezTo>
                      <a:pt x="1637729" y="192500"/>
                      <a:pt x="1836134" y="391573"/>
                      <a:pt x="1836134" y="636270"/>
                    </a:cubicBezTo>
                    <a:cubicBezTo>
                      <a:pt x="1836039" y="877443"/>
                      <a:pt x="1643158" y="1074230"/>
                      <a:pt x="1403985" y="1079754"/>
                    </a:cubicBezTo>
                    <a:close/>
                  </a:path>
                </a:pathLst>
              </a:custGeom>
              <a:grpFill/>
              <a:ln w="9525" cap="flat">
                <a:noFill/>
                <a:prstDash val="solid"/>
                <a:miter/>
              </a:ln>
            </p:spPr>
            <p:txBody>
              <a:bodyPr rtlCol="0" anchor="ctr"/>
              <a:lstStyle/>
              <a:p>
                <a:endParaRPr lang="en-US"/>
              </a:p>
            </p:txBody>
          </p:sp>
          <p:sp>
            <p:nvSpPr>
              <p:cNvPr id="25" name="Freihandform: Form 24">
                <a:extLst>
                  <a:ext uri="{FF2B5EF4-FFF2-40B4-BE49-F238E27FC236}">
                    <a16:creationId xmlns:a16="http://schemas.microsoft.com/office/drawing/2014/main" id="{900569CB-D6C9-4454-B753-461E1B948B75}"/>
                  </a:ext>
                </a:extLst>
              </p:cNvPr>
              <p:cNvSpPr/>
              <p:nvPr/>
            </p:nvSpPr>
            <p:spPr>
              <a:xfrm>
                <a:off x="1962093" y="2694012"/>
                <a:ext cx="1187958" cy="1080039"/>
              </a:xfrm>
              <a:custGeom>
                <a:avLst/>
                <a:gdLst>
                  <a:gd name="connsiteX0" fmla="*/ 972026 w 1187958"/>
                  <a:gd name="connsiteY0" fmla="*/ 539972 h 1080039"/>
                  <a:gd name="connsiteX1" fmla="*/ 647986 w 1187958"/>
                  <a:gd name="connsiteY1" fmla="*/ 323945 h 1080039"/>
                  <a:gd name="connsiteX2" fmla="*/ 647986 w 1187958"/>
                  <a:gd name="connsiteY2" fmla="*/ 539972 h 1080039"/>
                  <a:gd name="connsiteX3" fmla="*/ 323945 w 1187958"/>
                  <a:gd name="connsiteY3" fmla="*/ 323945 h 1080039"/>
                  <a:gd name="connsiteX4" fmla="*/ 323945 w 1187958"/>
                  <a:gd name="connsiteY4" fmla="*/ 539972 h 1080039"/>
                  <a:gd name="connsiteX5" fmla="*/ 0 w 1187958"/>
                  <a:gd name="connsiteY5" fmla="*/ 324041 h 1080039"/>
                  <a:gd name="connsiteX6" fmla="*/ 0 w 1187958"/>
                  <a:gd name="connsiteY6" fmla="*/ 1080040 h 1080039"/>
                  <a:gd name="connsiteX7" fmla="*/ 1187958 w 1187958"/>
                  <a:gd name="connsiteY7" fmla="*/ 1080040 h 1080039"/>
                  <a:gd name="connsiteX8" fmla="*/ 1187958 w 1187958"/>
                  <a:gd name="connsiteY8" fmla="*/ 0 h 1080039"/>
                  <a:gd name="connsiteX9" fmla="*/ 971931 w 1187958"/>
                  <a:gd name="connsiteY9" fmla="*/ 0 h 1080039"/>
                  <a:gd name="connsiteX10" fmla="*/ 971931 w 1187958"/>
                  <a:gd name="connsiteY10" fmla="*/ 539972 h 1080039"/>
                  <a:gd name="connsiteX11" fmla="*/ 270034 w 1187958"/>
                  <a:gd name="connsiteY11" fmla="*/ 810006 h 1080039"/>
                  <a:gd name="connsiteX12" fmla="*/ 108014 w 1187958"/>
                  <a:gd name="connsiteY12" fmla="*/ 810006 h 1080039"/>
                  <a:gd name="connsiteX13" fmla="*/ 108014 w 1187958"/>
                  <a:gd name="connsiteY13" fmla="*/ 701993 h 1080039"/>
                  <a:gd name="connsiteX14" fmla="*/ 270034 w 1187958"/>
                  <a:gd name="connsiteY14" fmla="*/ 701993 h 1080039"/>
                  <a:gd name="connsiteX15" fmla="*/ 270034 w 1187958"/>
                  <a:gd name="connsiteY15" fmla="*/ 810006 h 1080039"/>
                  <a:gd name="connsiteX16" fmla="*/ 593979 w 1187958"/>
                  <a:gd name="connsiteY16" fmla="*/ 810006 h 1080039"/>
                  <a:gd name="connsiteX17" fmla="*/ 431959 w 1187958"/>
                  <a:gd name="connsiteY17" fmla="*/ 810006 h 1080039"/>
                  <a:gd name="connsiteX18" fmla="*/ 431959 w 1187958"/>
                  <a:gd name="connsiteY18" fmla="*/ 701993 h 1080039"/>
                  <a:gd name="connsiteX19" fmla="*/ 593979 w 1187958"/>
                  <a:gd name="connsiteY19" fmla="*/ 701993 h 1080039"/>
                  <a:gd name="connsiteX20" fmla="*/ 593979 w 1187958"/>
                  <a:gd name="connsiteY20" fmla="*/ 810006 h 1080039"/>
                  <a:gd name="connsiteX21" fmla="*/ 918020 w 1187958"/>
                  <a:gd name="connsiteY21" fmla="*/ 810006 h 1080039"/>
                  <a:gd name="connsiteX22" fmla="*/ 755999 w 1187958"/>
                  <a:gd name="connsiteY22" fmla="*/ 810006 h 1080039"/>
                  <a:gd name="connsiteX23" fmla="*/ 755999 w 1187958"/>
                  <a:gd name="connsiteY23" fmla="*/ 701993 h 1080039"/>
                  <a:gd name="connsiteX24" fmla="*/ 918020 w 1187958"/>
                  <a:gd name="connsiteY24" fmla="*/ 701993 h 1080039"/>
                  <a:gd name="connsiteX25" fmla="*/ 918020 w 1187958"/>
                  <a:gd name="connsiteY25" fmla="*/ 810006 h 1080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87958" h="1080039">
                    <a:moveTo>
                      <a:pt x="972026" y="539972"/>
                    </a:moveTo>
                    <a:lnTo>
                      <a:pt x="647986" y="323945"/>
                    </a:lnTo>
                    <a:lnTo>
                      <a:pt x="647986" y="539972"/>
                    </a:lnTo>
                    <a:lnTo>
                      <a:pt x="323945" y="323945"/>
                    </a:lnTo>
                    <a:lnTo>
                      <a:pt x="323945" y="539972"/>
                    </a:lnTo>
                    <a:lnTo>
                      <a:pt x="0" y="324041"/>
                    </a:lnTo>
                    <a:lnTo>
                      <a:pt x="0" y="1080040"/>
                    </a:lnTo>
                    <a:lnTo>
                      <a:pt x="1187958" y="1080040"/>
                    </a:lnTo>
                    <a:lnTo>
                      <a:pt x="1187958" y="0"/>
                    </a:lnTo>
                    <a:lnTo>
                      <a:pt x="971931" y="0"/>
                    </a:lnTo>
                    <a:lnTo>
                      <a:pt x="971931" y="539972"/>
                    </a:lnTo>
                    <a:close/>
                    <a:moveTo>
                      <a:pt x="270034" y="810006"/>
                    </a:moveTo>
                    <a:lnTo>
                      <a:pt x="108014" y="810006"/>
                    </a:lnTo>
                    <a:lnTo>
                      <a:pt x="108014" y="701993"/>
                    </a:lnTo>
                    <a:lnTo>
                      <a:pt x="270034" y="701993"/>
                    </a:lnTo>
                    <a:lnTo>
                      <a:pt x="270034" y="810006"/>
                    </a:lnTo>
                    <a:close/>
                    <a:moveTo>
                      <a:pt x="593979" y="810006"/>
                    </a:moveTo>
                    <a:lnTo>
                      <a:pt x="431959" y="810006"/>
                    </a:lnTo>
                    <a:lnTo>
                      <a:pt x="431959" y="701993"/>
                    </a:lnTo>
                    <a:lnTo>
                      <a:pt x="593979" y="701993"/>
                    </a:lnTo>
                    <a:lnTo>
                      <a:pt x="593979" y="810006"/>
                    </a:lnTo>
                    <a:close/>
                    <a:moveTo>
                      <a:pt x="918020" y="810006"/>
                    </a:moveTo>
                    <a:lnTo>
                      <a:pt x="755999" y="810006"/>
                    </a:lnTo>
                    <a:lnTo>
                      <a:pt x="755999" y="701993"/>
                    </a:lnTo>
                    <a:lnTo>
                      <a:pt x="918020" y="701993"/>
                    </a:lnTo>
                    <a:lnTo>
                      <a:pt x="918020" y="810006"/>
                    </a:lnTo>
                    <a:close/>
                  </a:path>
                </a:pathLst>
              </a:custGeom>
              <a:grpFill/>
              <a:ln w="9525" cap="flat">
                <a:noFill/>
                <a:prstDash val="solid"/>
                <a:miter/>
              </a:ln>
            </p:spPr>
            <p:txBody>
              <a:bodyPr rtlCol="0" anchor="ctr"/>
              <a:lstStyle/>
              <a:p>
                <a:endParaRPr lang="en-US"/>
              </a:p>
            </p:txBody>
          </p:sp>
        </p:grpSp>
        <p:sp>
          <p:nvSpPr>
            <p:cNvPr id="23" name="Freihandform: Form 22">
              <a:extLst>
                <a:ext uri="{FF2B5EF4-FFF2-40B4-BE49-F238E27FC236}">
                  <a16:creationId xmlns:a16="http://schemas.microsoft.com/office/drawing/2014/main" id="{F48813AE-4F81-4211-B597-F1DFDAB6B7FB}"/>
                </a:ext>
              </a:extLst>
            </p:cNvPr>
            <p:cNvSpPr/>
            <p:nvPr/>
          </p:nvSpPr>
          <p:spPr>
            <a:xfrm>
              <a:off x="2738491" y="3126536"/>
              <a:ext cx="363502" cy="175897"/>
            </a:xfrm>
            <a:custGeom>
              <a:avLst/>
              <a:gdLst>
                <a:gd name="connsiteX0" fmla="*/ 1525809 w 1673924"/>
                <a:gd name="connsiteY0" fmla="*/ 607123 h 810006"/>
                <a:gd name="connsiteX1" fmla="*/ 1457991 w 1673924"/>
                <a:gd name="connsiteY1" fmla="*/ 674941 h 810006"/>
                <a:gd name="connsiteX2" fmla="*/ 1525809 w 1673924"/>
                <a:gd name="connsiteY2" fmla="*/ 742759 h 810006"/>
                <a:gd name="connsiteX3" fmla="*/ 1593627 w 1673924"/>
                <a:gd name="connsiteY3" fmla="*/ 674941 h 810006"/>
                <a:gd name="connsiteX4" fmla="*/ 1525809 w 1673924"/>
                <a:gd name="connsiteY4" fmla="*/ 607123 h 810006"/>
                <a:gd name="connsiteX5" fmla="*/ 149352 w 1673924"/>
                <a:gd name="connsiteY5" fmla="*/ 607123 h 810006"/>
                <a:gd name="connsiteX6" fmla="*/ 81534 w 1673924"/>
                <a:gd name="connsiteY6" fmla="*/ 674941 h 810006"/>
                <a:gd name="connsiteX7" fmla="*/ 149352 w 1673924"/>
                <a:gd name="connsiteY7" fmla="*/ 742759 h 810006"/>
                <a:gd name="connsiteX8" fmla="*/ 217170 w 1673924"/>
                <a:gd name="connsiteY8" fmla="*/ 674941 h 810006"/>
                <a:gd name="connsiteX9" fmla="*/ 149352 w 1673924"/>
                <a:gd name="connsiteY9" fmla="*/ 607123 h 810006"/>
                <a:gd name="connsiteX10" fmla="*/ 134969 w 1673924"/>
                <a:gd name="connsiteY10" fmla="*/ 540067 h 810006"/>
                <a:gd name="connsiteX11" fmla="*/ 1538954 w 1673924"/>
                <a:gd name="connsiteY11" fmla="*/ 540067 h 810006"/>
                <a:gd name="connsiteX12" fmla="*/ 1673924 w 1673924"/>
                <a:gd name="connsiteY12" fmla="*/ 675037 h 810006"/>
                <a:gd name="connsiteX13" fmla="*/ 1538954 w 1673924"/>
                <a:gd name="connsiteY13" fmla="*/ 810006 h 810006"/>
                <a:gd name="connsiteX14" fmla="*/ 134969 w 1673924"/>
                <a:gd name="connsiteY14" fmla="*/ 810006 h 810006"/>
                <a:gd name="connsiteX15" fmla="*/ 0 w 1673924"/>
                <a:gd name="connsiteY15" fmla="*/ 675037 h 810006"/>
                <a:gd name="connsiteX16" fmla="*/ 134969 w 1673924"/>
                <a:gd name="connsiteY16" fmla="*/ 540067 h 810006"/>
                <a:gd name="connsiteX17" fmla="*/ 646462 w 1673924"/>
                <a:gd name="connsiteY17" fmla="*/ 269748 h 810006"/>
                <a:gd name="connsiteX18" fmla="*/ 734092 w 1673924"/>
                <a:gd name="connsiteY18" fmla="*/ 280797 h 810006"/>
                <a:gd name="connsiteX19" fmla="*/ 780098 w 1673924"/>
                <a:gd name="connsiteY19" fmla="*/ 301561 h 810006"/>
                <a:gd name="connsiteX20" fmla="*/ 862203 w 1673924"/>
                <a:gd name="connsiteY20" fmla="*/ 399193 h 810006"/>
                <a:gd name="connsiteX21" fmla="*/ 810863 w 1673924"/>
                <a:gd name="connsiteY21" fmla="*/ 459867 h 810006"/>
                <a:gd name="connsiteX22" fmla="*/ 485013 w 1673924"/>
                <a:gd name="connsiteY22" fmla="*/ 459867 h 810006"/>
                <a:gd name="connsiteX23" fmla="*/ 446627 w 1673924"/>
                <a:gd name="connsiteY23" fmla="*/ 446437 h 810006"/>
                <a:gd name="connsiteX24" fmla="*/ 433769 w 1673924"/>
                <a:gd name="connsiteY24" fmla="*/ 399478 h 810006"/>
                <a:gd name="connsiteX25" fmla="*/ 514826 w 1673924"/>
                <a:gd name="connsiteY25" fmla="*/ 303657 h 810006"/>
                <a:gd name="connsiteX26" fmla="*/ 646462 w 1673924"/>
                <a:gd name="connsiteY26" fmla="*/ 269748 h 810006"/>
                <a:gd name="connsiteX27" fmla="*/ 1026033 w 1673924"/>
                <a:gd name="connsiteY27" fmla="*/ 0 h 810006"/>
                <a:gd name="connsiteX28" fmla="*/ 1134047 w 1673924"/>
                <a:gd name="connsiteY28" fmla="*/ 0 h 810006"/>
                <a:gd name="connsiteX29" fmla="*/ 1155764 w 1673924"/>
                <a:gd name="connsiteY29" fmla="*/ 145637 h 810006"/>
                <a:gd name="connsiteX30" fmla="*/ 1173290 w 1673924"/>
                <a:gd name="connsiteY30" fmla="*/ 193357 h 810006"/>
                <a:gd name="connsiteX31" fmla="*/ 1188053 w 1673924"/>
                <a:gd name="connsiteY31" fmla="*/ 241649 h 810006"/>
                <a:gd name="connsiteX32" fmla="*/ 1188053 w 1673924"/>
                <a:gd name="connsiteY32" fmla="*/ 416338 h 810006"/>
                <a:gd name="connsiteX33" fmla="*/ 1148429 w 1673924"/>
                <a:gd name="connsiteY33" fmla="*/ 459867 h 810006"/>
                <a:gd name="connsiteX34" fmla="*/ 1011555 w 1673924"/>
                <a:gd name="connsiteY34" fmla="*/ 459867 h 810006"/>
                <a:gd name="connsiteX35" fmla="*/ 972122 w 1673924"/>
                <a:gd name="connsiteY35" fmla="*/ 417290 h 810006"/>
                <a:gd name="connsiteX36" fmla="*/ 972122 w 1673924"/>
                <a:gd name="connsiteY36" fmla="*/ 237458 h 810006"/>
                <a:gd name="connsiteX37" fmla="*/ 971931 w 1673924"/>
                <a:gd name="connsiteY37" fmla="*/ 237458 h 810006"/>
                <a:gd name="connsiteX38" fmla="*/ 986695 w 1673924"/>
                <a:gd name="connsiteY38" fmla="*/ 193262 h 810006"/>
                <a:gd name="connsiteX39" fmla="*/ 1004316 w 1673924"/>
                <a:gd name="connsiteY39" fmla="*/ 144970 h 81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673924" h="810006">
                  <a:moveTo>
                    <a:pt x="1525809" y="607123"/>
                  </a:moveTo>
                  <a:cubicBezTo>
                    <a:pt x="1488354" y="607123"/>
                    <a:pt x="1457991" y="637486"/>
                    <a:pt x="1457991" y="674941"/>
                  </a:cubicBezTo>
                  <a:cubicBezTo>
                    <a:pt x="1457991" y="712396"/>
                    <a:pt x="1488354" y="742759"/>
                    <a:pt x="1525809" y="742759"/>
                  </a:cubicBezTo>
                  <a:cubicBezTo>
                    <a:pt x="1563264" y="742759"/>
                    <a:pt x="1593627" y="712396"/>
                    <a:pt x="1593627" y="674941"/>
                  </a:cubicBezTo>
                  <a:cubicBezTo>
                    <a:pt x="1593627" y="637486"/>
                    <a:pt x="1563264" y="607123"/>
                    <a:pt x="1525809" y="607123"/>
                  </a:cubicBezTo>
                  <a:close/>
                  <a:moveTo>
                    <a:pt x="149352" y="607123"/>
                  </a:moveTo>
                  <a:cubicBezTo>
                    <a:pt x="111897" y="607123"/>
                    <a:pt x="81534" y="637486"/>
                    <a:pt x="81534" y="674941"/>
                  </a:cubicBezTo>
                  <a:cubicBezTo>
                    <a:pt x="81534" y="712396"/>
                    <a:pt x="111897" y="742759"/>
                    <a:pt x="149352" y="742759"/>
                  </a:cubicBezTo>
                  <a:cubicBezTo>
                    <a:pt x="186807" y="742759"/>
                    <a:pt x="217170" y="712396"/>
                    <a:pt x="217170" y="674941"/>
                  </a:cubicBezTo>
                  <a:cubicBezTo>
                    <a:pt x="217170" y="637486"/>
                    <a:pt x="186807" y="607123"/>
                    <a:pt x="149352" y="607123"/>
                  </a:cubicBezTo>
                  <a:close/>
                  <a:moveTo>
                    <a:pt x="134969" y="540067"/>
                  </a:moveTo>
                  <a:lnTo>
                    <a:pt x="1538954" y="540067"/>
                  </a:lnTo>
                  <a:cubicBezTo>
                    <a:pt x="1613249" y="540067"/>
                    <a:pt x="1673924" y="600837"/>
                    <a:pt x="1673924" y="675037"/>
                  </a:cubicBezTo>
                  <a:cubicBezTo>
                    <a:pt x="1673924" y="749236"/>
                    <a:pt x="1613249" y="810006"/>
                    <a:pt x="1538954" y="810006"/>
                  </a:cubicBezTo>
                  <a:lnTo>
                    <a:pt x="134969" y="810006"/>
                  </a:lnTo>
                  <a:cubicBezTo>
                    <a:pt x="60674" y="810006"/>
                    <a:pt x="0" y="749236"/>
                    <a:pt x="0" y="675037"/>
                  </a:cubicBezTo>
                  <a:cubicBezTo>
                    <a:pt x="0" y="600837"/>
                    <a:pt x="60770" y="540067"/>
                    <a:pt x="134969" y="540067"/>
                  </a:cubicBezTo>
                  <a:close/>
                  <a:moveTo>
                    <a:pt x="646462" y="269748"/>
                  </a:moveTo>
                  <a:cubicBezTo>
                    <a:pt x="668465" y="268033"/>
                    <a:pt x="722281" y="277177"/>
                    <a:pt x="734092" y="280797"/>
                  </a:cubicBezTo>
                  <a:cubicBezTo>
                    <a:pt x="742283" y="283273"/>
                    <a:pt x="770192" y="293846"/>
                    <a:pt x="780098" y="301561"/>
                  </a:cubicBezTo>
                  <a:cubicBezTo>
                    <a:pt x="805339" y="321183"/>
                    <a:pt x="852011" y="369094"/>
                    <a:pt x="862203" y="399193"/>
                  </a:cubicBezTo>
                  <a:cubicBezTo>
                    <a:pt x="868585" y="417957"/>
                    <a:pt x="859250" y="459867"/>
                    <a:pt x="810863" y="459867"/>
                  </a:cubicBezTo>
                  <a:cubicBezTo>
                    <a:pt x="787908" y="459867"/>
                    <a:pt x="533400" y="459867"/>
                    <a:pt x="485013" y="459867"/>
                  </a:cubicBezTo>
                  <a:cubicBezTo>
                    <a:pt x="477012" y="459867"/>
                    <a:pt x="459105" y="459010"/>
                    <a:pt x="446627" y="446437"/>
                  </a:cubicBezTo>
                  <a:cubicBezTo>
                    <a:pt x="433197" y="432911"/>
                    <a:pt x="430054" y="411004"/>
                    <a:pt x="433769" y="399478"/>
                  </a:cubicBezTo>
                  <a:cubicBezTo>
                    <a:pt x="443294" y="369570"/>
                    <a:pt x="487680" y="319468"/>
                    <a:pt x="514826" y="303657"/>
                  </a:cubicBezTo>
                  <a:cubicBezTo>
                    <a:pt x="544163" y="286512"/>
                    <a:pt x="612077" y="272415"/>
                    <a:pt x="646462" y="269748"/>
                  </a:cubicBezTo>
                  <a:close/>
                  <a:moveTo>
                    <a:pt x="1026033" y="0"/>
                  </a:moveTo>
                  <a:lnTo>
                    <a:pt x="1134047" y="0"/>
                  </a:lnTo>
                  <a:lnTo>
                    <a:pt x="1155764" y="145637"/>
                  </a:lnTo>
                  <a:cubicBezTo>
                    <a:pt x="1155764" y="145637"/>
                    <a:pt x="1173099" y="193167"/>
                    <a:pt x="1173290" y="193357"/>
                  </a:cubicBezTo>
                  <a:cubicBezTo>
                    <a:pt x="1188339" y="210312"/>
                    <a:pt x="1188244" y="236696"/>
                    <a:pt x="1188053" y="241649"/>
                  </a:cubicBezTo>
                  <a:lnTo>
                    <a:pt x="1188053" y="416338"/>
                  </a:lnTo>
                  <a:cubicBezTo>
                    <a:pt x="1188053" y="416338"/>
                    <a:pt x="1189673" y="459867"/>
                    <a:pt x="1148429" y="459867"/>
                  </a:cubicBezTo>
                  <a:lnTo>
                    <a:pt x="1011555" y="459867"/>
                  </a:lnTo>
                  <a:cubicBezTo>
                    <a:pt x="973741" y="459867"/>
                    <a:pt x="972122" y="423386"/>
                    <a:pt x="972122" y="417290"/>
                  </a:cubicBezTo>
                  <a:lnTo>
                    <a:pt x="972122" y="237458"/>
                  </a:lnTo>
                  <a:lnTo>
                    <a:pt x="971931" y="237458"/>
                  </a:lnTo>
                  <a:cubicBezTo>
                    <a:pt x="971931" y="215074"/>
                    <a:pt x="985171" y="194881"/>
                    <a:pt x="986695" y="193262"/>
                  </a:cubicBezTo>
                  <a:cubicBezTo>
                    <a:pt x="986790" y="193167"/>
                    <a:pt x="1004316" y="144970"/>
                    <a:pt x="1004316" y="14497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t" anchorCtr="0">
              <a:noAutofit/>
            </a:bodyPr>
            <a:lstStyle/>
            <a:p>
              <a:pPr algn="l"/>
              <a:endParaRPr lang="en-US"/>
            </a:p>
          </p:txBody>
        </p:sp>
      </p:grpSp>
      <p:sp>
        <p:nvSpPr>
          <p:cNvPr id="26" name="Grafik 114">
            <a:extLst>
              <a:ext uri="{FF2B5EF4-FFF2-40B4-BE49-F238E27FC236}">
                <a16:creationId xmlns:a16="http://schemas.microsoft.com/office/drawing/2014/main" id="{034EFBDC-71DE-4EB9-A132-23325967DE5B}"/>
              </a:ext>
            </a:extLst>
          </p:cNvPr>
          <p:cNvSpPr>
            <a:spLocks/>
          </p:cNvSpPr>
          <p:nvPr/>
        </p:nvSpPr>
        <p:spPr>
          <a:xfrm>
            <a:off x="9563163" y="1920961"/>
            <a:ext cx="853330" cy="854870"/>
          </a:xfrm>
          <a:custGeom>
            <a:avLst/>
            <a:gdLst>
              <a:gd name="connsiteX0" fmla="*/ 998903 w 1997964"/>
              <a:gd name="connsiteY0" fmla="*/ -79 h 1997964"/>
              <a:gd name="connsiteX1" fmla="*/ -79 w 1997964"/>
              <a:gd name="connsiteY1" fmla="*/ 998903 h 1997964"/>
              <a:gd name="connsiteX2" fmla="*/ 998903 w 1997964"/>
              <a:gd name="connsiteY2" fmla="*/ 1997885 h 1997964"/>
              <a:gd name="connsiteX3" fmla="*/ 1997885 w 1997964"/>
              <a:gd name="connsiteY3" fmla="*/ 998903 h 1997964"/>
              <a:gd name="connsiteX4" fmla="*/ 999093 w 1997964"/>
              <a:gd name="connsiteY4" fmla="*/ -79 h 1997964"/>
              <a:gd name="connsiteX5" fmla="*/ 998903 w 1997964"/>
              <a:gd name="connsiteY5" fmla="*/ -79 h 1997964"/>
              <a:gd name="connsiteX6" fmla="*/ 1267698 w 1997964"/>
              <a:gd name="connsiteY6" fmla="*/ 1115870 h 1997964"/>
              <a:gd name="connsiteX7" fmla="*/ 1454960 w 1997964"/>
              <a:gd name="connsiteY7" fmla="*/ 1115870 h 1997964"/>
              <a:gd name="connsiteX8" fmla="*/ 1508871 w 1997964"/>
              <a:gd name="connsiteY8" fmla="*/ 1500680 h 1997964"/>
              <a:gd name="connsiteX9" fmla="*/ 1636125 w 1997964"/>
              <a:gd name="connsiteY9" fmla="*/ 1500680 h 1997964"/>
              <a:gd name="connsiteX10" fmla="*/ 999188 w 1997964"/>
              <a:gd name="connsiteY10" fmla="*/ 1810528 h 1997964"/>
              <a:gd name="connsiteX11" fmla="*/ 999188 w 1997964"/>
              <a:gd name="connsiteY11" fmla="*/ 1810528 h 1997964"/>
              <a:gd name="connsiteX12" fmla="*/ 187284 w 1997964"/>
              <a:gd name="connsiteY12" fmla="*/ 998988 h 1997964"/>
              <a:gd name="connsiteX13" fmla="*/ 237188 w 1997964"/>
              <a:gd name="connsiteY13" fmla="*/ 718582 h 1997964"/>
              <a:gd name="connsiteX14" fmla="*/ 301958 w 1997964"/>
              <a:gd name="connsiteY14" fmla="*/ 945658 h 1997964"/>
              <a:gd name="connsiteX15" fmla="*/ 440166 w 1997964"/>
              <a:gd name="connsiteY15" fmla="*/ 1150160 h 1997964"/>
              <a:gd name="connsiteX16" fmla="*/ 587708 w 1997964"/>
              <a:gd name="connsiteY16" fmla="*/ 1150160 h 1997964"/>
              <a:gd name="connsiteX17" fmla="*/ 587708 w 1997964"/>
              <a:gd name="connsiteY17" fmla="*/ 1249220 h 1997964"/>
              <a:gd name="connsiteX18" fmla="*/ 692483 w 1997964"/>
              <a:gd name="connsiteY18" fmla="*/ 1374188 h 1997964"/>
              <a:gd name="connsiteX19" fmla="*/ 692483 w 1997964"/>
              <a:gd name="connsiteY19" fmla="*/ 1600502 h 1997964"/>
              <a:gd name="connsiteX20" fmla="*/ 791448 w 1997964"/>
              <a:gd name="connsiteY20" fmla="*/ 1710896 h 1997964"/>
              <a:gd name="connsiteX21" fmla="*/ 1070816 w 1997964"/>
              <a:gd name="connsiteY21" fmla="*/ 1263221 h 1997964"/>
              <a:gd name="connsiteX22" fmla="*/ 1070816 w 1997964"/>
              <a:gd name="connsiteY22" fmla="*/ 1072721 h 1997964"/>
              <a:gd name="connsiteX23" fmla="*/ 664289 w 1997964"/>
              <a:gd name="connsiteY23" fmla="*/ 961850 h 1997964"/>
              <a:gd name="connsiteX24" fmla="*/ 608854 w 1997964"/>
              <a:gd name="connsiteY24" fmla="*/ 961850 h 1997964"/>
              <a:gd name="connsiteX25" fmla="*/ 564372 w 1997964"/>
              <a:gd name="connsiteY25" fmla="*/ 895175 h 1997964"/>
              <a:gd name="connsiteX26" fmla="*/ 657241 w 1997964"/>
              <a:gd name="connsiteY26" fmla="*/ 778113 h 1997964"/>
              <a:gd name="connsiteX27" fmla="*/ 810212 w 1997964"/>
              <a:gd name="connsiteY27" fmla="*/ 778113 h 1997964"/>
              <a:gd name="connsiteX28" fmla="*/ 899176 w 1997964"/>
              <a:gd name="connsiteY28" fmla="*/ 486172 h 1997964"/>
              <a:gd name="connsiteX29" fmla="*/ 709628 w 1997964"/>
              <a:gd name="connsiteY29" fmla="*/ 316817 h 1997964"/>
              <a:gd name="connsiteX30" fmla="*/ 558371 w 1997964"/>
              <a:gd name="connsiteY30" fmla="*/ 316817 h 1997964"/>
              <a:gd name="connsiteX31" fmla="*/ 1316942 w 1997964"/>
              <a:gd name="connsiteY31" fmla="*/ 251381 h 1997964"/>
              <a:gd name="connsiteX32" fmla="*/ 1316942 w 1997964"/>
              <a:gd name="connsiteY32" fmla="*/ 356156 h 1997964"/>
              <a:gd name="connsiteX33" fmla="*/ 1200642 w 1997964"/>
              <a:gd name="connsiteY33" fmla="*/ 407591 h 1997964"/>
              <a:gd name="connsiteX34" fmla="*/ 1276842 w 1997964"/>
              <a:gd name="connsiteY34" fmla="*/ 579041 h 1997964"/>
              <a:gd name="connsiteX35" fmla="*/ 1379903 w 1997964"/>
              <a:gd name="connsiteY35" fmla="*/ 532940 h 1997964"/>
              <a:gd name="connsiteX36" fmla="*/ 1663938 w 1997964"/>
              <a:gd name="connsiteY36" fmla="*/ 532940 h 1997964"/>
              <a:gd name="connsiteX37" fmla="*/ 1761665 w 1997964"/>
              <a:gd name="connsiteY37" fmla="*/ 720296 h 1997964"/>
              <a:gd name="connsiteX38" fmla="*/ 1405049 w 1997964"/>
              <a:gd name="connsiteY38" fmla="*/ 720296 h 1997964"/>
              <a:gd name="connsiteX39" fmla="*/ 1237980 w 1997964"/>
              <a:gd name="connsiteY39" fmla="*/ 906129 h 1997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97964" h="1997964">
                <a:moveTo>
                  <a:pt x="998903" y="-79"/>
                </a:moveTo>
                <a:cubicBezTo>
                  <a:pt x="447176" y="-79"/>
                  <a:pt x="-79" y="447176"/>
                  <a:pt x="-79" y="998903"/>
                </a:cubicBezTo>
                <a:cubicBezTo>
                  <a:pt x="-79" y="1550629"/>
                  <a:pt x="447176" y="1997885"/>
                  <a:pt x="998903" y="1997885"/>
                </a:cubicBezTo>
                <a:cubicBezTo>
                  <a:pt x="1550629" y="1997885"/>
                  <a:pt x="1997885" y="1550629"/>
                  <a:pt x="1997885" y="998903"/>
                </a:cubicBezTo>
                <a:cubicBezTo>
                  <a:pt x="1997942" y="447234"/>
                  <a:pt x="1550762" y="-27"/>
                  <a:pt x="999093" y="-79"/>
                </a:cubicBezTo>
                <a:cubicBezTo>
                  <a:pt x="999026" y="-79"/>
                  <a:pt x="998969" y="-79"/>
                  <a:pt x="998903" y="-79"/>
                </a:cubicBezTo>
                <a:close/>
                <a:moveTo>
                  <a:pt x="1267698" y="1115870"/>
                </a:moveTo>
                <a:lnTo>
                  <a:pt x="1454960" y="1115870"/>
                </a:lnTo>
                <a:lnTo>
                  <a:pt x="1508871" y="1500680"/>
                </a:lnTo>
                <a:lnTo>
                  <a:pt x="1636125" y="1500680"/>
                </a:lnTo>
                <a:cubicBezTo>
                  <a:pt x="1482820" y="1696485"/>
                  <a:pt x="1247877" y="1810775"/>
                  <a:pt x="999188" y="1810528"/>
                </a:cubicBezTo>
                <a:lnTo>
                  <a:pt x="999188" y="1810528"/>
                </a:lnTo>
                <a:cubicBezTo>
                  <a:pt x="550885" y="1810633"/>
                  <a:pt x="187386" y="1447292"/>
                  <a:pt x="187284" y="998988"/>
                </a:cubicBezTo>
                <a:cubicBezTo>
                  <a:pt x="187262" y="903310"/>
                  <a:pt x="204156" y="808384"/>
                  <a:pt x="237188" y="718582"/>
                </a:cubicBezTo>
                <a:lnTo>
                  <a:pt x="301958" y="945658"/>
                </a:lnTo>
                <a:lnTo>
                  <a:pt x="440166" y="1150160"/>
                </a:lnTo>
                <a:lnTo>
                  <a:pt x="587708" y="1150160"/>
                </a:lnTo>
                <a:lnTo>
                  <a:pt x="587708" y="1249220"/>
                </a:lnTo>
                <a:lnTo>
                  <a:pt x="692483" y="1374188"/>
                </a:lnTo>
                <a:lnTo>
                  <a:pt x="692483" y="1600502"/>
                </a:lnTo>
                <a:lnTo>
                  <a:pt x="791448" y="1710896"/>
                </a:lnTo>
                <a:lnTo>
                  <a:pt x="1070816" y="1263221"/>
                </a:lnTo>
                <a:lnTo>
                  <a:pt x="1070816" y="1072721"/>
                </a:lnTo>
                <a:lnTo>
                  <a:pt x="664289" y="961850"/>
                </a:lnTo>
                <a:lnTo>
                  <a:pt x="608854" y="961850"/>
                </a:lnTo>
                <a:lnTo>
                  <a:pt x="564372" y="895175"/>
                </a:lnTo>
                <a:lnTo>
                  <a:pt x="657241" y="778113"/>
                </a:lnTo>
                <a:lnTo>
                  <a:pt x="810212" y="778113"/>
                </a:lnTo>
                <a:lnTo>
                  <a:pt x="899176" y="486172"/>
                </a:lnTo>
                <a:lnTo>
                  <a:pt x="709628" y="316817"/>
                </a:lnTo>
                <a:lnTo>
                  <a:pt x="558371" y="316817"/>
                </a:lnTo>
                <a:cubicBezTo>
                  <a:pt x="784628" y="170249"/>
                  <a:pt x="1068931" y="145725"/>
                  <a:pt x="1316942" y="251381"/>
                </a:cubicBezTo>
                <a:lnTo>
                  <a:pt x="1316942" y="356156"/>
                </a:lnTo>
                <a:lnTo>
                  <a:pt x="1200642" y="407591"/>
                </a:lnTo>
                <a:lnTo>
                  <a:pt x="1276842" y="579041"/>
                </a:lnTo>
                <a:lnTo>
                  <a:pt x="1379903" y="532940"/>
                </a:lnTo>
                <a:lnTo>
                  <a:pt x="1663938" y="532940"/>
                </a:lnTo>
                <a:cubicBezTo>
                  <a:pt x="1704734" y="590747"/>
                  <a:pt x="1737595" y="653764"/>
                  <a:pt x="1761665" y="720296"/>
                </a:cubicBezTo>
                <a:lnTo>
                  <a:pt x="1405049" y="720296"/>
                </a:lnTo>
                <a:lnTo>
                  <a:pt x="1237980" y="906129"/>
                </a:lnTo>
                <a:close/>
              </a:path>
            </a:pathLst>
          </a:custGeom>
          <a:solidFill>
            <a:srgbClr val="FFFFFF"/>
          </a:solidFill>
          <a:ln w="9525" cap="flat">
            <a:noFill/>
            <a:prstDash val="solid"/>
            <a:miter/>
          </a:ln>
        </p:spPr>
        <p:txBody>
          <a:bodyPr rtlCol="0" anchor="ctr"/>
          <a:lstStyle/>
          <a:p>
            <a:endParaRPr lang="en-US"/>
          </a:p>
        </p:txBody>
      </p:sp>
      <p:grpSp>
        <p:nvGrpSpPr>
          <p:cNvPr id="29" name="Gruppieren 28">
            <a:extLst>
              <a:ext uri="{FF2B5EF4-FFF2-40B4-BE49-F238E27FC236}">
                <a16:creationId xmlns:a16="http://schemas.microsoft.com/office/drawing/2014/main" id="{61DF8507-71A2-4902-BD8F-2F87DF657D37}"/>
              </a:ext>
            </a:extLst>
          </p:cNvPr>
          <p:cNvGrpSpPr/>
          <p:nvPr/>
        </p:nvGrpSpPr>
        <p:grpSpPr>
          <a:xfrm>
            <a:off x="5654448" y="1935591"/>
            <a:ext cx="892630" cy="892630"/>
            <a:chOff x="5492874" y="1624013"/>
            <a:chExt cx="892630" cy="892630"/>
          </a:xfrm>
          <a:solidFill>
            <a:srgbClr val="FFFFFF"/>
          </a:solidFill>
        </p:grpSpPr>
        <p:sp>
          <p:nvSpPr>
            <p:cNvPr id="27" name="Freihandform: Form 26">
              <a:extLst>
                <a:ext uri="{FF2B5EF4-FFF2-40B4-BE49-F238E27FC236}">
                  <a16:creationId xmlns:a16="http://schemas.microsoft.com/office/drawing/2014/main" id="{8EB950C4-FA00-4A39-BC5E-58D1908D391B}"/>
                </a:ext>
              </a:extLst>
            </p:cNvPr>
            <p:cNvSpPr>
              <a:spLocks/>
            </p:cNvSpPr>
            <p:nvPr/>
          </p:nvSpPr>
          <p:spPr>
            <a:xfrm>
              <a:off x="5492874" y="1624013"/>
              <a:ext cx="892630" cy="892630"/>
            </a:xfrm>
            <a:custGeom>
              <a:avLst/>
              <a:gdLst>
                <a:gd name="connsiteX0" fmla="*/ 522000 w 1044000"/>
                <a:gd name="connsiteY0" fmla="*/ 60389 h 1044000"/>
                <a:gd name="connsiteX1" fmla="*/ 60389 w 1044000"/>
                <a:gd name="connsiteY1" fmla="*/ 522000 h 1044000"/>
                <a:gd name="connsiteX2" fmla="*/ 522000 w 1044000"/>
                <a:gd name="connsiteY2" fmla="*/ 983611 h 1044000"/>
                <a:gd name="connsiteX3" fmla="*/ 983611 w 1044000"/>
                <a:gd name="connsiteY3" fmla="*/ 522000 h 1044000"/>
                <a:gd name="connsiteX4" fmla="*/ 522000 w 1044000"/>
                <a:gd name="connsiteY4" fmla="*/ 60389 h 1044000"/>
                <a:gd name="connsiteX5" fmla="*/ 522001 w 1044000"/>
                <a:gd name="connsiteY5" fmla="*/ 0 h 1044000"/>
                <a:gd name="connsiteX6" fmla="*/ 1044000 w 1044000"/>
                <a:gd name="connsiteY6" fmla="*/ 522001 h 1044000"/>
                <a:gd name="connsiteX7" fmla="*/ 522001 w 1044000"/>
                <a:gd name="connsiteY7" fmla="*/ 1044000 h 1044000"/>
                <a:gd name="connsiteX8" fmla="*/ 0 w 1044000"/>
                <a:gd name="connsiteY8" fmla="*/ 522001 h 1044000"/>
                <a:gd name="connsiteX9" fmla="*/ 522001 w 1044000"/>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4000" h="1044000">
                  <a:moveTo>
                    <a:pt x="522000" y="60389"/>
                  </a:moveTo>
                  <a:cubicBezTo>
                    <a:pt x="267059" y="60389"/>
                    <a:pt x="60389" y="267059"/>
                    <a:pt x="60389" y="522000"/>
                  </a:cubicBezTo>
                  <a:cubicBezTo>
                    <a:pt x="60389" y="776941"/>
                    <a:pt x="267059" y="983611"/>
                    <a:pt x="522000" y="983611"/>
                  </a:cubicBezTo>
                  <a:cubicBezTo>
                    <a:pt x="776941" y="983611"/>
                    <a:pt x="983611" y="776941"/>
                    <a:pt x="983611" y="522000"/>
                  </a:cubicBezTo>
                  <a:cubicBezTo>
                    <a:pt x="983611" y="267059"/>
                    <a:pt x="776941" y="60389"/>
                    <a:pt x="522000" y="60389"/>
                  </a:cubicBezTo>
                  <a:close/>
                  <a:moveTo>
                    <a:pt x="522001" y="0"/>
                  </a:moveTo>
                  <a:cubicBezTo>
                    <a:pt x="810296" y="0"/>
                    <a:pt x="1044000" y="233706"/>
                    <a:pt x="1044000" y="522001"/>
                  </a:cubicBezTo>
                  <a:cubicBezTo>
                    <a:pt x="1044000" y="810296"/>
                    <a:pt x="810296" y="1044000"/>
                    <a:pt x="522001" y="1044000"/>
                  </a:cubicBezTo>
                  <a:cubicBezTo>
                    <a:pt x="233706" y="1044000"/>
                    <a:pt x="0" y="810296"/>
                    <a:pt x="0" y="522001"/>
                  </a:cubicBezTo>
                  <a:cubicBezTo>
                    <a:pt x="0" y="233706"/>
                    <a:pt x="233706" y="0"/>
                    <a:pt x="522001" y="0"/>
                  </a:cubicBezTo>
                  <a:close/>
                </a:path>
              </a:pathLst>
            </a:custGeom>
            <a:grpFill/>
            <a:ln w="2767" cap="flat">
              <a:noFill/>
              <a:prstDash val="solid"/>
              <a:miter/>
            </a:ln>
          </p:spPr>
          <p:txBody>
            <a:bodyPr wrap="square" rtlCol="0" anchor="ctr">
              <a:noAutofit/>
            </a:bodyPr>
            <a:lstStyle/>
            <a:p>
              <a:endParaRPr lang="en-US"/>
            </a:p>
          </p:txBody>
        </p:sp>
        <p:sp>
          <p:nvSpPr>
            <p:cNvPr id="28" name="Grafik 20">
              <a:extLst>
                <a:ext uri="{FF2B5EF4-FFF2-40B4-BE49-F238E27FC236}">
                  <a16:creationId xmlns:a16="http://schemas.microsoft.com/office/drawing/2014/main" id="{2F2AFE9E-EAC2-4891-98C3-E3F50B0B7723}"/>
                </a:ext>
              </a:extLst>
            </p:cNvPr>
            <p:cNvSpPr/>
            <p:nvPr/>
          </p:nvSpPr>
          <p:spPr>
            <a:xfrm>
              <a:off x="5651189" y="1782907"/>
              <a:ext cx="576000" cy="574842"/>
            </a:xfrm>
            <a:custGeom>
              <a:avLst/>
              <a:gdLst>
                <a:gd name="connsiteX0" fmla="*/ 1604017 w 1835658"/>
                <a:gd name="connsiteY0" fmla="*/ 742481 h 1835277"/>
                <a:gd name="connsiteX1" fmla="*/ 1528770 w 1835658"/>
                <a:gd name="connsiteY1" fmla="*/ 559506 h 1835277"/>
                <a:gd name="connsiteX2" fmla="*/ 1681170 w 1835658"/>
                <a:gd name="connsiteY2" fmla="*/ 381388 h 1835277"/>
                <a:gd name="connsiteX3" fmla="*/ 1455808 w 1835658"/>
                <a:gd name="connsiteY3" fmla="*/ 155932 h 1835277"/>
                <a:gd name="connsiteX4" fmla="*/ 1278453 w 1835658"/>
                <a:gd name="connsiteY4" fmla="*/ 308332 h 1835277"/>
                <a:gd name="connsiteX5" fmla="*/ 1094620 w 1835658"/>
                <a:gd name="connsiteY5" fmla="*/ 232132 h 1835277"/>
                <a:gd name="connsiteX6" fmla="*/ 1076713 w 1835658"/>
                <a:gd name="connsiteY6" fmla="*/ -88 h 1835277"/>
                <a:gd name="connsiteX7" fmla="*/ 758197 w 1835658"/>
                <a:gd name="connsiteY7" fmla="*/ -88 h 1835277"/>
                <a:gd name="connsiteX8" fmla="*/ 740386 w 1835658"/>
                <a:gd name="connsiteY8" fmla="*/ 232132 h 1835277"/>
                <a:gd name="connsiteX9" fmla="*/ 556363 w 1835658"/>
                <a:gd name="connsiteY9" fmla="*/ 308332 h 1835277"/>
                <a:gd name="connsiteX10" fmla="*/ 379293 w 1835658"/>
                <a:gd name="connsiteY10" fmla="*/ 156598 h 1835277"/>
                <a:gd name="connsiteX11" fmla="*/ 153836 w 1835658"/>
                <a:gd name="connsiteY11" fmla="*/ 381293 h 1835277"/>
                <a:gd name="connsiteX12" fmla="*/ 306236 w 1835658"/>
                <a:gd name="connsiteY12" fmla="*/ 559315 h 1835277"/>
                <a:gd name="connsiteX13" fmla="*/ 231084 w 1835658"/>
                <a:gd name="connsiteY13" fmla="*/ 743243 h 1835277"/>
                <a:gd name="connsiteX14" fmla="*/ -88 w 1835658"/>
                <a:gd name="connsiteY14" fmla="*/ 760674 h 1835277"/>
                <a:gd name="connsiteX15" fmla="*/ -88 w 1835658"/>
                <a:gd name="connsiteY15" fmla="*/ 1079476 h 1835277"/>
                <a:gd name="connsiteX16" fmla="*/ 232989 w 1835658"/>
                <a:gd name="connsiteY16" fmla="*/ 1097383 h 1835277"/>
                <a:gd name="connsiteX17" fmla="*/ 309189 w 1835658"/>
                <a:gd name="connsiteY17" fmla="*/ 1278358 h 1835277"/>
                <a:gd name="connsiteX18" fmla="*/ 154789 w 1835658"/>
                <a:gd name="connsiteY18" fmla="*/ 1458475 h 1835277"/>
                <a:gd name="connsiteX19" fmla="*/ 380150 w 1835658"/>
                <a:gd name="connsiteY19" fmla="*/ 1683932 h 1835277"/>
                <a:gd name="connsiteX20" fmla="*/ 561125 w 1835658"/>
                <a:gd name="connsiteY20" fmla="*/ 1528675 h 1835277"/>
                <a:gd name="connsiteX21" fmla="*/ 741243 w 1835658"/>
                <a:gd name="connsiteY21" fmla="*/ 1603065 h 1835277"/>
                <a:gd name="connsiteX22" fmla="*/ 759055 w 1835658"/>
                <a:gd name="connsiteY22" fmla="*/ 1835189 h 1835277"/>
                <a:gd name="connsiteX23" fmla="*/ 1077856 w 1835658"/>
                <a:gd name="connsiteY23" fmla="*/ 1835189 h 1835277"/>
                <a:gd name="connsiteX24" fmla="*/ 1095287 w 1835658"/>
                <a:gd name="connsiteY24" fmla="*/ 1602779 h 1835277"/>
                <a:gd name="connsiteX25" fmla="*/ 1275310 w 1835658"/>
                <a:gd name="connsiteY25" fmla="*/ 1528294 h 1835277"/>
                <a:gd name="connsiteX26" fmla="*/ 1456285 w 1835658"/>
                <a:gd name="connsiteY26" fmla="*/ 1683551 h 1835277"/>
                <a:gd name="connsiteX27" fmla="*/ 1681741 w 1835658"/>
                <a:gd name="connsiteY27" fmla="*/ 1458094 h 1835277"/>
                <a:gd name="connsiteX28" fmla="*/ 1527055 w 1835658"/>
                <a:gd name="connsiteY28" fmla="*/ 1277691 h 1835277"/>
                <a:gd name="connsiteX29" fmla="*/ 1602684 w 1835658"/>
                <a:gd name="connsiteY29" fmla="*/ 1096716 h 1835277"/>
                <a:gd name="connsiteX30" fmla="*/ 1835570 w 1835658"/>
                <a:gd name="connsiteY30" fmla="*/ 1078809 h 1835277"/>
                <a:gd name="connsiteX31" fmla="*/ 1835570 w 1835658"/>
                <a:gd name="connsiteY31" fmla="*/ 760293 h 1835277"/>
                <a:gd name="connsiteX32" fmla="*/ 1604017 w 1835658"/>
                <a:gd name="connsiteY32" fmla="*/ 742481 h 1835277"/>
                <a:gd name="connsiteX33" fmla="*/ 917646 w 1835658"/>
                <a:gd name="connsiteY33" fmla="*/ 1215874 h 1835277"/>
                <a:gd name="connsiteX34" fmla="*/ 618847 w 1835658"/>
                <a:gd name="connsiteY34" fmla="*/ 917074 h 1835277"/>
                <a:gd name="connsiteX35" fmla="*/ 917646 w 1835658"/>
                <a:gd name="connsiteY35" fmla="*/ 618275 h 1835277"/>
                <a:gd name="connsiteX36" fmla="*/ 1216445 w 1835658"/>
                <a:gd name="connsiteY36" fmla="*/ 917074 h 1835277"/>
                <a:gd name="connsiteX37" fmla="*/ 917646 w 1835658"/>
                <a:gd name="connsiteY37" fmla="*/ 1215874 h 183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35658" h="1835277">
                  <a:moveTo>
                    <a:pt x="1604017" y="742481"/>
                  </a:moveTo>
                  <a:cubicBezTo>
                    <a:pt x="1587701" y="678245"/>
                    <a:pt x="1562365" y="616637"/>
                    <a:pt x="1528770" y="559506"/>
                  </a:cubicBezTo>
                  <a:lnTo>
                    <a:pt x="1681170" y="381388"/>
                  </a:lnTo>
                  <a:lnTo>
                    <a:pt x="1455808" y="155932"/>
                  </a:lnTo>
                  <a:lnTo>
                    <a:pt x="1278453" y="308332"/>
                  </a:lnTo>
                  <a:cubicBezTo>
                    <a:pt x="1221103" y="274327"/>
                    <a:pt x="1159209" y="248677"/>
                    <a:pt x="1094620" y="232132"/>
                  </a:cubicBezTo>
                  <a:lnTo>
                    <a:pt x="1076713" y="-88"/>
                  </a:lnTo>
                  <a:lnTo>
                    <a:pt x="758197" y="-88"/>
                  </a:lnTo>
                  <a:lnTo>
                    <a:pt x="740386" y="232132"/>
                  </a:lnTo>
                  <a:cubicBezTo>
                    <a:pt x="675758" y="248715"/>
                    <a:pt x="613798" y="274366"/>
                    <a:pt x="556363" y="308332"/>
                  </a:cubicBezTo>
                  <a:lnTo>
                    <a:pt x="379293" y="156598"/>
                  </a:lnTo>
                  <a:lnTo>
                    <a:pt x="153836" y="381293"/>
                  </a:lnTo>
                  <a:lnTo>
                    <a:pt x="306236" y="559315"/>
                  </a:lnTo>
                  <a:cubicBezTo>
                    <a:pt x="272565" y="616742"/>
                    <a:pt x="247257" y="678673"/>
                    <a:pt x="231084" y="743243"/>
                  </a:cubicBezTo>
                  <a:lnTo>
                    <a:pt x="-88" y="760674"/>
                  </a:lnTo>
                  <a:lnTo>
                    <a:pt x="-88" y="1079476"/>
                  </a:lnTo>
                  <a:lnTo>
                    <a:pt x="232989" y="1097383"/>
                  </a:lnTo>
                  <a:cubicBezTo>
                    <a:pt x="249810" y="1160972"/>
                    <a:pt x="275461" y="1221884"/>
                    <a:pt x="309189" y="1278358"/>
                  </a:cubicBezTo>
                  <a:lnTo>
                    <a:pt x="154789" y="1458475"/>
                  </a:lnTo>
                  <a:lnTo>
                    <a:pt x="380150" y="1683932"/>
                  </a:lnTo>
                  <a:lnTo>
                    <a:pt x="561125" y="1528675"/>
                  </a:lnTo>
                  <a:cubicBezTo>
                    <a:pt x="617418" y="1561726"/>
                    <a:pt x="678035" y="1586758"/>
                    <a:pt x="741243" y="1603065"/>
                  </a:cubicBezTo>
                  <a:lnTo>
                    <a:pt x="759055" y="1835189"/>
                  </a:lnTo>
                  <a:lnTo>
                    <a:pt x="1077856" y="1835189"/>
                  </a:lnTo>
                  <a:lnTo>
                    <a:pt x="1095287" y="1602779"/>
                  </a:lnTo>
                  <a:cubicBezTo>
                    <a:pt x="1158447" y="1586387"/>
                    <a:pt x="1219026" y="1561317"/>
                    <a:pt x="1275310" y="1528294"/>
                  </a:cubicBezTo>
                  <a:lnTo>
                    <a:pt x="1456285" y="1683551"/>
                  </a:lnTo>
                  <a:lnTo>
                    <a:pt x="1681741" y="1458094"/>
                  </a:lnTo>
                  <a:lnTo>
                    <a:pt x="1527055" y="1277691"/>
                  </a:lnTo>
                  <a:cubicBezTo>
                    <a:pt x="1560564" y="1221179"/>
                    <a:pt x="1586025" y="1160267"/>
                    <a:pt x="1602684" y="1096716"/>
                  </a:cubicBezTo>
                  <a:lnTo>
                    <a:pt x="1835570" y="1078809"/>
                  </a:lnTo>
                  <a:lnTo>
                    <a:pt x="1835570" y="760293"/>
                  </a:lnTo>
                  <a:lnTo>
                    <a:pt x="1604017" y="742481"/>
                  </a:lnTo>
                  <a:moveTo>
                    <a:pt x="917646" y="1215874"/>
                  </a:moveTo>
                  <a:cubicBezTo>
                    <a:pt x="752625" y="1215874"/>
                    <a:pt x="618847" y="1082095"/>
                    <a:pt x="618847" y="917074"/>
                  </a:cubicBezTo>
                  <a:cubicBezTo>
                    <a:pt x="618847" y="752054"/>
                    <a:pt x="752625" y="618275"/>
                    <a:pt x="917646" y="618275"/>
                  </a:cubicBezTo>
                  <a:cubicBezTo>
                    <a:pt x="1082666" y="618275"/>
                    <a:pt x="1216445" y="752054"/>
                    <a:pt x="1216445" y="917074"/>
                  </a:cubicBezTo>
                  <a:cubicBezTo>
                    <a:pt x="1216445" y="1082095"/>
                    <a:pt x="1082666" y="1215874"/>
                    <a:pt x="917646" y="1215874"/>
                  </a:cubicBezTo>
                  <a:close/>
                </a:path>
              </a:pathLst>
            </a:custGeom>
            <a:grpFill/>
            <a:ln w="9525" cap="flat">
              <a:noFill/>
              <a:prstDash val="solid"/>
              <a:miter/>
            </a:ln>
          </p:spPr>
          <p:txBody>
            <a:bodyPr rtlCol="0" anchor="ctr"/>
            <a:lstStyle/>
            <a:p>
              <a:endParaRPr lang="en-US"/>
            </a:p>
          </p:txBody>
        </p:sp>
      </p:grpSp>
      <p:cxnSp>
        <p:nvCxnSpPr>
          <p:cNvPr id="30" name="Gerader Verbinder 29">
            <a:extLst>
              <a:ext uri="{FF2B5EF4-FFF2-40B4-BE49-F238E27FC236}">
                <a16:creationId xmlns:a16="http://schemas.microsoft.com/office/drawing/2014/main" id="{6DBF7937-E998-4FBE-A203-8AF81DC01463}"/>
              </a:ext>
            </a:extLst>
          </p:cNvPr>
          <p:cNvCxnSpPr>
            <a:cxnSpLocks/>
          </p:cNvCxnSpPr>
          <p:nvPr/>
        </p:nvCxnSpPr>
        <p:spPr>
          <a:xfrm>
            <a:off x="411164" y="3133882"/>
            <a:ext cx="3601067" cy="0"/>
          </a:xfrm>
          <a:prstGeom prst="line">
            <a:avLst/>
          </a:prstGeom>
          <a:ln w="38100">
            <a:solidFill>
              <a:schemeClr val="accent3"/>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ACC185C9-0DA4-4888-933D-34F93F9402A8}"/>
              </a:ext>
            </a:extLst>
          </p:cNvPr>
          <p:cNvCxnSpPr>
            <a:cxnSpLocks/>
          </p:cNvCxnSpPr>
          <p:nvPr/>
        </p:nvCxnSpPr>
        <p:spPr>
          <a:xfrm>
            <a:off x="4300230" y="3133882"/>
            <a:ext cx="3601067" cy="0"/>
          </a:xfrm>
          <a:prstGeom prst="line">
            <a:avLst/>
          </a:prstGeom>
          <a:ln w="38100">
            <a:solidFill>
              <a:schemeClr val="accent3"/>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7657AF2D-C5F2-4919-9158-EBA66246851C}"/>
              </a:ext>
            </a:extLst>
          </p:cNvPr>
          <p:cNvCxnSpPr>
            <a:cxnSpLocks/>
          </p:cNvCxnSpPr>
          <p:nvPr/>
        </p:nvCxnSpPr>
        <p:spPr>
          <a:xfrm>
            <a:off x="8189295" y="3133882"/>
            <a:ext cx="3601067" cy="0"/>
          </a:xfrm>
          <a:prstGeom prst="line">
            <a:avLst/>
          </a:prstGeom>
          <a:ln w="38100">
            <a:solidFill>
              <a:schemeClr val="accent3"/>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4" name="Footer Placeholder 5">
            <a:extLst>
              <a:ext uri="{FF2B5EF4-FFF2-40B4-BE49-F238E27FC236}">
                <a16:creationId xmlns:a16="http://schemas.microsoft.com/office/drawing/2014/main" id="{F168DDCB-5CB8-E6B1-099E-1CCF4C02027A}"/>
              </a:ext>
            </a:extLst>
          </p:cNvPr>
          <p:cNvSpPr>
            <a:spLocks noGrp="1"/>
          </p:cNvSpPr>
          <p:nvPr>
            <p:ph type="ftr" sz="quarter" idx="10"/>
          </p:nvPr>
        </p:nvSpPr>
        <p:spPr>
          <a:xfrm>
            <a:off x="1059160" y="6310800"/>
            <a:ext cx="9216000" cy="547200"/>
          </a:xfrm>
        </p:spPr>
        <p:txBody>
          <a:bodyPr/>
          <a:lstStyle/>
          <a:p>
            <a:r>
              <a:rPr lang="en-US" dirty="0"/>
              <a:t>Unrestricted | © Siemens 2023 | Industrial AI</a:t>
            </a:r>
          </a:p>
        </p:txBody>
      </p:sp>
    </p:spTree>
    <p:extLst>
      <p:ext uri="{BB962C8B-B14F-4D97-AF65-F5344CB8AC3E}">
        <p14:creationId xmlns:p14="http://schemas.microsoft.com/office/powerpoint/2010/main" val="10971889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CF340D6-748B-49CE-B53B-54BC12FF42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0CF340D6-748B-49CE-B53B-54BC12FF42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A306D4C-19A5-4E02-89D9-41C2E481995A}"/>
              </a:ext>
            </a:extLst>
          </p:cNvPr>
          <p:cNvSpPr>
            <a:spLocks noGrp="1"/>
          </p:cNvSpPr>
          <p:nvPr>
            <p:ph type="title"/>
          </p:nvPr>
        </p:nvSpPr>
        <p:spPr>
          <a:xfrm>
            <a:off x="410400" y="478800"/>
            <a:ext cx="9863997" cy="576000"/>
          </a:xfrm>
        </p:spPr>
        <p:txBody>
          <a:bodyPr vert="horz"/>
          <a:lstStyle/>
          <a:p>
            <a:r>
              <a:rPr lang="en-US"/>
              <a:t>AI helps safeguard the future</a:t>
            </a:r>
            <a:br>
              <a:rPr lang="en-US"/>
            </a:br>
            <a:r>
              <a:rPr lang="en-US" b="0"/>
              <a:t>Mastering increasing complexity and securing competitive advantages with AI</a:t>
            </a:r>
          </a:p>
        </p:txBody>
      </p:sp>
      <p:cxnSp>
        <p:nvCxnSpPr>
          <p:cNvPr id="16" name="Gerader Verbinder 15">
            <a:extLst>
              <a:ext uri="{FF2B5EF4-FFF2-40B4-BE49-F238E27FC236}">
                <a16:creationId xmlns:a16="http://schemas.microsoft.com/office/drawing/2014/main" id="{D01644AB-DF64-44F1-868D-445A3E8701B9}"/>
              </a:ext>
            </a:extLst>
          </p:cNvPr>
          <p:cNvCxnSpPr>
            <a:cxnSpLocks/>
          </p:cNvCxnSpPr>
          <p:nvPr/>
        </p:nvCxnSpPr>
        <p:spPr>
          <a:xfrm>
            <a:off x="0" y="3133882"/>
            <a:ext cx="12192000" cy="0"/>
          </a:xfrm>
          <a:prstGeom prst="line">
            <a:avLst/>
          </a:prstGeom>
          <a:ln w="12700">
            <a:solidFill>
              <a:schemeClr val="accent3"/>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FD336F30-AD7F-4844-AA58-0B4167996BC0}"/>
              </a:ext>
            </a:extLst>
          </p:cNvPr>
          <p:cNvCxnSpPr>
            <a:cxnSpLocks/>
          </p:cNvCxnSpPr>
          <p:nvPr/>
        </p:nvCxnSpPr>
        <p:spPr>
          <a:xfrm>
            <a:off x="411164" y="3133882"/>
            <a:ext cx="1776533" cy="0"/>
          </a:xfrm>
          <a:prstGeom prst="line">
            <a:avLst/>
          </a:prstGeom>
          <a:ln w="38100">
            <a:solidFill>
              <a:schemeClr val="accent3"/>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88104EDD-522E-4E59-942A-D4A27F53BB51}"/>
              </a:ext>
            </a:extLst>
          </p:cNvPr>
          <p:cNvCxnSpPr>
            <a:cxnSpLocks/>
          </p:cNvCxnSpPr>
          <p:nvPr/>
        </p:nvCxnSpPr>
        <p:spPr>
          <a:xfrm>
            <a:off x="4252230" y="3133882"/>
            <a:ext cx="1776533" cy="0"/>
          </a:xfrm>
          <a:prstGeom prst="line">
            <a:avLst/>
          </a:prstGeom>
          <a:ln w="38100">
            <a:solidFill>
              <a:schemeClr val="accent3"/>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499B44F8-EB79-47F3-B278-C03359929400}"/>
              </a:ext>
            </a:extLst>
          </p:cNvPr>
          <p:cNvCxnSpPr>
            <a:cxnSpLocks/>
          </p:cNvCxnSpPr>
          <p:nvPr/>
        </p:nvCxnSpPr>
        <p:spPr>
          <a:xfrm>
            <a:off x="8093296" y="3133882"/>
            <a:ext cx="1776533" cy="0"/>
          </a:xfrm>
          <a:prstGeom prst="line">
            <a:avLst/>
          </a:prstGeom>
          <a:ln w="38100">
            <a:solidFill>
              <a:schemeClr val="accent3"/>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0" name="Rechteck 19">
            <a:extLst>
              <a:ext uri="{FF2B5EF4-FFF2-40B4-BE49-F238E27FC236}">
                <a16:creationId xmlns:a16="http://schemas.microsoft.com/office/drawing/2014/main" id="{1675BCB1-04D6-405C-90D1-A47C909F98C7}"/>
              </a:ext>
            </a:extLst>
          </p:cNvPr>
          <p:cNvSpPr>
            <a:spLocks/>
          </p:cNvSpPr>
          <p:nvPr/>
        </p:nvSpPr>
        <p:spPr>
          <a:xfrm>
            <a:off x="10013828" y="3345946"/>
            <a:ext cx="1776533"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lvl="1" algn="ctr">
              <a:buSzPts val="1000"/>
              <a:tabLst>
                <a:tab pos="914400" algn="l"/>
              </a:tabLst>
            </a:pPr>
            <a:r>
              <a:rPr lang="en-US" altLang="de-DE" sz="2000">
                <a:solidFill>
                  <a:schemeClr val="tx1"/>
                </a:solidFill>
                <a:cs typeface="Times New Roman"/>
              </a:rPr>
              <a:t>New business models</a:t>
            </a:r>
          </a:p>
        </p:txBody>
      </p:sp>
      <p:sp>
        <p:nvSpPr>
          <p:cNvPr id="21" name="Rechteck 20">
            <a:extLst>
              <a:ext uri="{FF2B5EF4-FFF2-40B4-BE49-F238E27FC236}">
                <a16:creationId xmlns:a16="http://schemas.microsoft.com/office/drawing/2014/main" id="{717F9D67-B301-4C31-A4BD-495E9B5031E8}"/>
              </a:ext>
            </a:extLst>
          </p:cNvPr>
          <p:cNvSpPr>
            <a:spLocks/>
          </p:cNvSpPr>
          <p:nvPr/>
        </p:nvSpPr>
        <p:spPr>
          <a:xfrm>
            <a:off x="411164" y="3345946"/>
            <a:ext cx="1776533"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lvl="1" algn="ctr">
              <a:buSzPts val="1000"/>
              <a:tabLst>
                <a:tab pos="914400" algn="l"/>
              </a:tabLst>
            </a:pPr>
            <a:r>
              <a:rPr lang="en-US" sz="2000">
                <a:solidFill>
                  <a:schemeClr val="tx1"/>
                </a:solidFill>
                <a:cs typeface="Times New Roman"/>
              </a:rPr>
              <a:t>Increase efficiency</a:t>
            </a:r>
          </a:p>
        </p:txBody>
      </p:sp>
      <p:sp>
        <p:nvSpPr>
          <p:cNvPr id="22" name="Rechteck 21">
            <a:extLst>
              <a:ext uri="{FF2B5EF4-FFF2-40B4-BE49-F238E27FC236}">
                <a16:creationId xmlns:a16="http://schemas.microsoft.com/office/drawing/2014/main" id="{3BB6931C-55BD-49E0-A66C-6984EBB6C3B7}"/>
              </a:ext>
            </a:extLst>
          </p:cNvPr>
          <p:cNvSpPr>
            <a:spLocks/>
          </p:cNvSpPr>
          <p:nvPr/>
        </p:nvSpPr>
        <p:spPr>
          <a:xfrm>
            <a:off x="8093296" y="3345946"/>
            <a:ext cx="1776533"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lvl="1" algn="ctr">
              <a:buSzPts val="1000"/>
              <a:tabLst>
                <a:tab pos="914400" algn="l"/>
              </a:tabLst>
            </a:pPr>
            <a:r>
              <a:rPr lang="en-US" sz="2000">
                <a:solidFill>
                  <a:schemeClr val="tx1"/>
                </a:solidFill>
                <a:cs typeface="Times New Roman"/>
              </a:rPr>
              <a:t>Lower inspection cost</a:t>
            </a:r>
          </a:p>
        </p:txBody>
      </p:sp>
      <p:sp>
        <p:nvSpPr>
          <p:cNvPr id="23" name="Rechteck 22">
            <a:extLst>
              <a:ext uri="{FF2B5EF4-FFF2-40B4-BE49-F238E27FC236}">
                <a16:creationId xmlns:a16="http://schemas.microsoft.com/office/drawing/2014/main" id="{8D0DA24C-8E44-4852-862C-7E12A2FFEB2F}"/>
              </a:ext>
            </a:extLst>
          </p:cNvPr>
          <p:cNvSpPr>
            <a:spLocks/>
          </p:cNvSpPr>
          <p:nvPr/>
        </p:nvSpPr>
        <p:spPr>
          <a:xfrm>
            <a:off x="2331697" y="3345946"/>
            <a:ext cx="1776533"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lvl="1" algn="ctr">
              <a:buSzPts val="1000"/>
              <a:tabLst>
                <a:tab pos="914400" algn="l"/>
              </a:tabLst>
            </a:pPr>
            <a:r>
              <a:rPr lang="en-US" sz="2000">
                <a:solidFill>
                  <a:schemeClr val="tx1"/>
                </a:solidFill>
                <a:cs typeface="Times New Roman"/>
              </a:rPr>
              <a:t>Reduce downtimes</a:t>
            </a:r>
          </a:p>
        </p:txBody>
      </p:sp>
      <p:sp>
        <p:nvSpPr>
          <p:cNvPr id="24" name="Rechteck 23">
            <a:extLst>
              <a:ext uri="{FF2B5EF4-FFF2-40B4-BE49-F238E27FC236}">
                <a16:creationId xmlns:a16="http://schemas.microsoft.com/office/drawing/2014/main" id="{777A19FD-26CF-4501-ABAC-74DE14B3A84F}"/>
              </a:ext>
            </a:extLst>
          </p:cNvPr>
          <p:cNvSpPr>
            <a:spLocks/>
          </p:cNvSpPr>
          <p:nvPr/>
        </p:nvSpPr>
        <p:spPr>
          <a:xfrm>
            <a:off x="4252230" y="3345946"/>
            <a:ext cx="1776533"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lvl="1" algn="ctr">
              <a:buSzPts val="1000"/>
              <a:tabLst>
                <a:tab pos="914400" algn="l"/>
              </a:tabLst>
            </a:pPr>
            <a:r>
              <a:rPr lang="en-US" sz="2000">
                <a:solidFill>
                  <a:schemeClr val="tx1"/>
                </a:solidFill>
                <a:cs typeface="Times New Roman"/>
              </a:rPr>
              <a:t>Improve</a:t>
            </a:r>
            <a:br>
              <a:rPr lang="en-US" sz="2000">
                <a:solidFill>
                  <a:schemeClr val="tx1"/>
                </a:solidFill>
                <a:cs typeface="Times New Roman"/>
              </a:rPr>
            </a:br>
            <a:r>
              <a:rPr lang="en-US" sz="2000">
                <a:solidFill>
                  <a:schemeClr val="tx1"/>
                </a:solidFill>
                <a:cs typeface="Times New Roman"/>
              </a:rPr>
              <a:t>quality</a:t>
            </a:r>
          </a:p>
        </p:txBody>
      </p:sp>
      <p:sp>
        <p:nvSpPr>
          <p:cNvPr id="25" name="Rechteck 24">
            <a:extLst>
              <a:ext uri="{FF2B5EF4-FFF2-40B4-BE49-F238E27FC236}">
                <a16:creationId xmlns:a16="http://schemas.microsoft.com/office/drawing/2014/main" id="{A2D9CC0F-4DBA-46A8-A3B4-6600C6F4FF0B}"/>
              </a:ext>
            </a:extLst>
          </p:cNvPr>
          <p:cNvSpPr>
            <a:spLocks/>
          </p:cNvSpPr>
          <p:nvPr/>
        </p:nvSpPr>
        <p:spPr>
          <a:xfrm>
            <a:off x="6172763" y="3345946"/>
            <a:ext cx="1776533"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lvl="1" algn="ctr">
              <a:buSzPts val="1000"/>
              <a:tabLst>
                <a:tab pos="914400" algn="l"/>
              </a:tabLst>
            </a:pPr>
            <a:r>
              <a:rPr lang="en-US" sz="2000">
                <a:solidFill>
                  <a:schemeClr val="tx1"/>
                </a:solidFill>
                <a:cs typeface="Times New Roman"/>
              </a:rPr>
              <a:t>Minimize production waste</a:t>
            </a:r>
          </a:p>
        </p:txBody>
      </p:sp>
      <p:grpSp>
        <p:nvGrpSpPr>
          <p:cNvPr id="40" name="Gruppieren 39">
            <a:extLst>
              <a:ext uri="{FF2B5EF4-FFF2-40B4-BE49-F238E27FC236}">
                <a16:creationId xmlns:a16="http://schemas.microsoft.com/office/drawing/2014/main" id="{D38D0A1F-9A34-4AD3-828C-D53B955D5C1A}"/>
              </a:ext>
            </a:extLst>
          </p:cNvPr>
          <p:cNvGrpSpPr/>
          <p:nvPr/>
        </p:nvGrpSpPr>
        <p:grpSpPr>
          <a:xfrm>
            <a:off x="6722882" y="2015909"/>
            <a:ext cx="676294" cy="795642"/>
            <a:chOff x="6620980" y="3007052"/>
            <a:chExt cx="868492" cy="1021756"/>
          </a:xfrm>
          <a:solidFill>
            <a:srgbClr val="FFFFFF"/>
          </a:solidFill>
        </p:grpSpPr>
        <p:sp>
          <p:nvSpPr>
            <p:cNvPr id="41" name="Freihandform: Form 35">
              <a:extLst>
                <a:ext uri="{FF2B5EF4-FFF2-40B4-BE49-F238E27FC236}">
                  <a16:creationId xmlns:a16="http://schemas.microsoft.com/office/drawing/2014/main" id="{6E8F2CCF-FA92-4C3F-83D9-56BE77CBF302}"/>
                </a:ext>
              </a:extLst>
            </p:cNvPr>
            <p:cNvSpPr/>
            <p:nvPr/>
          </p:nvSpPr>
          <p:spPr>
            <a:xfrm>
              <a:off x="6620980" y="3007052"/>
              <a:ext cx="868492" cy="255439"/>
            </a:xfrm>
            <a:custGeom>
              <a:avLst/>
              <a:gdLst>
                <a:gd name="connsiteX0" fmla="*/ 609600 w 647700"/>
                <a:gd name="connsiteY0" fmla="*/ 114300 h 190500"/>
                <a:gd name="connsiteX1" fmla="*/ 447675 w 647700"/>
                <a:gd name="connsiteY1" fmla="*/ 114300 h 190500"/>
                <a:gd name="connsiteX2" fmla="*/ 447675 w 647700"/>
                <a:gd name="connsiteY2" fmla="*/ 66675 h 190500"/>
                <a:gd name="connsiteX3" fmla="*/ 381000 w 647700"/>
                <a:gd name="connsiteY3" fmla="*/ 0 h 190500"/>
                <a:gd name="connsiteX4" fmla="*/ 266700 w 647700"/>
                <a:gd name="connsiteY4" fmla="*/ 0 h 190500"/>
                <a:gd name="connsiteX5" fmla="*/ 200025 w 647700"/>
                <a:gd name="connsiteY5" fmla="*/ 66675 h 190500"/>
                <a:gd name="connsiteX6" fmla="*/ 200025 w 647700"/>
                <a:gd name="connsiteY6" fmla="*/ 114300 h 190500"/>
                <a:gd name="connsiteX7" fmla="*/ 38100 w 647700"/>
                <a:gd name="connsiteY7" fmla="*/ 114300 h 190500"/>
                <a:gd name="connsiteX8" fmla="*/ 0 w 647700"/>
                <a:gd name="connsiteY8" fmla="*/ 152400 h 190500"/>
                <a:gd name="connsiteX9" fmla="*/ 0 w 647700"/>
                <a:gd name="connsiteY9" fmla="*/ 190500 h 190500"/>
                <a:gd name="connsiteX10" fmla="*/ 647700 w 647700"/>
                <a:gd name="connsiteY10" fmla="*/ 190500 h 190500"/>
                <a:gd name="connsiteX11" fmla="*/ 647700 w 647700"/>
                <a:gd name="connsiteY11" fmla="*/ 152400 h 190500"/>
                <a:gd name="connsiteX12" fmla="*/ 609600 w 647700"/>
                <a:gd name="connsiteY12" fmla="*/ 114300 h 190500"/>
                <a:gd name="connsiteX13" fmla="*/ 257175 w 647700"/>
                <a:gd name="connsiteY13" fmla="*/ 66675 h 190500"/>
                <a:gd name="connsiteX14" fmla="*/ 266700 w 647700"/>
                <a:gd name="connsiteY14" fmla="*/ 57150 h 190500"/>
                <a:gd name="connsiteX15" fmla="*/ 381000 w 647700"/>
                <a:gd name="connsiteY15" fmla="*/ 57150 h 190500"/>
                <a:gd name="connsiteX16" fmla="*/ 390525 w 647700"/>
                <a:gd name="connsiteY16" fmla="*/ 66675 h 190500"/>
                <a:gd name="connsiteX17" fmla="*/ 390525 w 647700"/>
                <a:gd name="connsiteY17" fmla="*/ 114300 h 190500"/>
                <a:gd name="connsiteX18" fmla="*/ 257175 w 647700"/>
                <a:gd name="connsiteY18" fmla="*/ 114300 h 190500"/>
                <a:gd name="connsiteX19" fmla="*/ 257175 w 647700"/>
                <a:gd name="connsiteY19" fmla="*/ 6667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47700" h="190500">
                  <a:moveTo>
                    <a:pt x="609600" y="114300"/>
                  </a:moveTo>
                  <a:lnTo>
                    <a:pt x="447675" y="114300"/>
                  </a:lnTo>
                  <a:lnTo>
                    <a:pt x="447675" y="66675"/>
                  </a:lnTo>
                  <a:cubicBezTo>
                    <a:pt x="447675" y="29528"/>
                    <a:pt x="418148" y="0"/>
                    <a:pt x="381000" y="0"/>
                  </a:cubicBezTo>
                  <a:lnTo>
                    <a:pt x="266700" y="0"/>
                  </a:lnTo>
                  <a:cubicBezTo>
                    <a:pt x="229552" y="0"/>
                    <a:pt x="200025" y="29528"/>
                    <a:pt x="200025" y="66675"/>
                  </a:cubicBezTo>
                  <a:lnTo>
                    <a:pt x="200025" y="114300"/>
                  </a:lnTo>
                  <a:lnTo>
                    <a:pt x="38100" y="114300"/>
                  </a:lnTo>
                  <a:cubicBezTo>
                    <a:pt x="17145" y="114300"/>
                    <a:pt x="0" y="131445"/>
                    <a:pt x="0" y="152400"/>
                  </a:cubicBezTo>
                  <a:lnTo>
                    <a:pt x="0" y="190500"/>
                  </a:lnTo>
                  <a:lnTo>
                    <a:pt x="647700" y="190500"/>
                  </a:lnTo>
                  <a:lnTo>
                    <a:pt x="647700" y="152400"/>
                  </a:lnTo>
                  <a:cubicBezTo>
                    <a:pt x="647700" y="131445"/>
                    <a:pt x="630555" y="114300"/>
                    <a:pt x="609600" y="114300"/>
                  </a:cubicBezTo>
                  <a:close/>
                  <a:moveTo>
                    <a:pt x="257175" y="66675"/>
                  </a:moveTo>
                  <a:cubicBezTo>
                    <a:pt x="257175" y="60960"/>
                    <a:pt x="260985" y="57150"/>
                    <a:pt x="266700" y="57150"/>
                  </a:cubicBezTo>
                  <a:lnTo>
                    <a:pt x="381000" y="57150"/>
                  </a:lnTo>
                  <a:cubicBezTo>
                    <a:pt x="386715" y="57150"/>
                    <a:pt x="390525" y="60960"/>
                    <a:pt x="390525" y="66675"/>
                  </a:cubicBezTo>
                  <a:lnTo>
                    <a:pt x="390525" y="114300"/>
                  </a:lnTo>
                  <a:lnTo>
                    <a:pt x="257175" y="114300"/>
                  </a:lnTo>
                  <a:lnTo>
                    <a:pt x="257175" y="66675"/>
                  </a:lnTo>
                  <a:close/>
                </a:path>
              </a:pathLst>
            </a:custGeom>
            <a:grpFill/>
            <a:ln w="9525" cap="flat">
              <a:noFill/>
              <a:prstDash val="solid"/>
              <a:miter/>
            </a:ln>
          </p:spPr>
          <p:txBody>
            <a:bodyPr rtlCol="0" anchor="ctr"/>
            <a:lstStyle/>
            <a:p>
              <a:endParaRPr lang="en-US"/>
            </a:p>
          </p:txBody>
        </p:sp>
        <p:sp>
          <p:nvSpPr>
            <p:cNvPr id="42" name="Freihandform: Form 36">
              <a:extLst>
                <a:ext uri="{FF2B5EF4-FFF2-40B4-BE49-F238E27FC236}">
                  <a16:creationId xmlns:a16="http://schemas.microsoft.com/office/drawing/2014/main" id="{BA043F58-4542-4914-91E8-919266945093}"/>
                </a:ext>
              </a:extLst>
            </p:cNvPr>
            <p:cNvSpPr/>
            <p:nvPr/>
          </p:nvSpPr>
          <p:spPr>
            <a:xfrm>
              <a:off x="6697612" y="3313579"/>
              <a:ext cx="715229" cy="715229"/>
            </a:xfrm>
            <a:custGeom>
              <a:avLst/>
              <a:gdLst>
                <a:gd name="connsiteX0" fmla="*/ 0 w 533400"/>
                <a:gd name="connsiteY0" fmla="*/ 495300 h 533400"/>
                <a:gd name="connsiteX1" fmla="*/ 38100 w 533400"/>
                <a:gd name="connsiteY1" fmla="*/ 533400 h 533400"/>
                <a:gd name="connsiteX2" fmla="*/ 495300 w 533400"/>
                <a:gd name="connsiteY2" fmla="*/ 533400 h 533400"/>
                <a:gd name="connsiteX3" fmla="*/ 533400 w 533400"/>
                <a:gd name="connsiteY3" fmla="*/ 495300 h 533400"/>
                <a:gd name="connsiteX4" fmla="*/ 533400 w 533400"/>
                <a:gd name="connsiteY4" fmla="*/ 0 h 533400"/>
                <a:gd name="connsiteX5" fmla="*/ 0 w 533400"/>
                <a:gd name="connsiteY5" fmla="*/ 0 h 533400"/>
                <a:gd name="connsiteX6" fmla="*/ 0 w 533400"/>
                <a:gd name="connsiteY6" fmla="*/ 495300 h 533400"/>
                <a:gd name="connsiteX7" fmla="*/ 390525 w 533400"/>
                <a:gd name="connsiteY7" fmla="*/ 57150 h 533400"/>
                <a:gd name="connsiteX8" fmla="*/ 447675 w 533400"/>
                <a:gd name="connsiteY8" fmla="*/ 57150 h 533400"/>
                <a:gd name="connsiteX9" fmla="*/ 447675 w 533400"/>
                <a:gd name="connsiteY9" fmla="*/ 476250 h 533400"/>
                <a:gd name="connsiteX10" fmla="*/ 390525 w 533400"/>
                <a:gd name="connsiteY10" fmla="*/ 476250 h 533400"/>
                <a:gd name="connsiteX11" fmla="*/ 390525 w 533400"/>
                <a:gd name="connsiteY11" fmla="*/ 57150 h 533400"/>
                <a:gd name="connsiteX12" fmla="*/ 238125 w 533400"/>
                <a:gd name="connsiteY12" fmla="*/ 57150 h 533400"/>
                <a:gd name="connsiteX13" fmla="*/ 295275 w 533400"/>
                <a:gd name="connsiteY13" fmla="*/ 57150 h 533400"/>
                <a:gd name="connsiteX14" fmla="*/ 295275 w 533400"/>
                <a:gd name="connsiteY14" fmla="*/ 476250 h 533400"/>
                <a:gd name="connsiteX15" fmla="*/ 238125 w 533400"/>
                <a:gd name="connsiteY15" fmla="*/ 476250 h 533400"/>
                <a:gd name="connsiteX16" fmla="*/ 238125 w 533400"/>
                <a:gd name="connsiteY16" fmla="*/ 57150 h 533400"/>
                <a:gd name="connsiteX17" fmla="*/ 85725 w 533400"/>
                <a:gd name="connsiteY17" fmla="*/ 57150 h 533400"/>
                <a:gd name="connsiteX18" fmla="*/ 142875 w 533400"/>
                <a:gd name="connsiteY18" fmla="*/ 57150 h 533400"/>
                <a:gd name="connsiteX19" fmla="*/ 142875 w 533400"/>
                <a:gd name="connsiteY19" fmla="*/ 476250 h 533400"/>
                <a:gd name="connsiteX20" fmla="*/ 85725 w 533400"/>
                <a:gd name="connsiteY20" fmla="*/ 476250 h 533400"/>
                <a:gd name="connsiteX21" fmla="*/ 85725 w 533400"/>
                <a:gd name="connsiteY21" fmla="*/ 5715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3400" h="533400">
                  <a:moveTo>
                    <a:pt x="0" y="495300"/>
                  </a:moveTo>
                  <a:cubicBezTo>
                    <a:pt x="0" y="516255"/>
                    <a:pt x="17145" y="533400"/>
                    <a:pt x="38100" y="533400"/>
                  </a:cubicBezTo>
                  <a:lnTo>
                    <a:pt x="495300" y="533400"/>
                  </a:lnTo>
                  <a:cubicBezTo>
                    <a:pt x="516255" y="533400"/>
                    <a:pt x="533400" y="516255"/>
                    <a:pt x="533400" y="495300"/>
                  </a:cubicBezTo>
                  <a:lnTo>
                    <a:pt x="533400" y="0"/>
                  </a:lnTo>
                  <a:lnTo>
                    <a:pt x="0" y="0"/>
                  </a:lnTo>
                  <a:lnTo>
                    <a:pt x="0" y="495300"/>
                  </a:lnTo>
                  <a:close/>
                  <a:moveTo>
                    <a:pt x="390525" y="57150"/>
                  </a:moveTo>
                  <a:lnTo>
                    <a:pt x="447675" y="57150"/>
                  </a:lnTo>
                  <a:lnTo>
                    <a:pt x="447675" y="476250"/>
                  </a:lnTo>
                  <a:lnTo>
                    <a:pt x="390525" y="476250"/>
                  </a:lnTo>
                  <a:lnTo>
                    <a:pt x="390525" y="57150"/>
                  </a:lnTo>
                  <a:close/>
                  <a:moveTo>
                    <a:pt x="238125" y="57150"/>
                  </a:moveTo>
                  <a:lnTo>
                    <a:pt x="295275" y="57150"/>
                  </a:lnTo>
                  <a:lnTo>
                    <a:pt x="295275" y="476250"/>
                  </a:lnTo>
                  <a:lnTo>
                    <a:pt x="238125" y="476250"/>
                  </a:lnTo>
                  <a:lnTo>
                    <a:pt x="238125" y="57150"/>
                  </a:lnTo>
                  <a:close/>
                  <a:moveTo>
                    <a:pt x="85725" y="57150"/>
                  </a:moveTo>
                  <a:lnTo>
                    <a:pt x="142875" y="57150"/>
                  </a:lnTo>
                  <a:lnTo>
                    <a:pt x="142875" y="476250"/>
                  </a:lnTo>
                  <a:lnTo>
                    <a:pt x="85725" y="476250"/>
                  </a:lnTo>
                  <a:lnTo>
                    <a:pt x="85725" y="57150"/>
                  </a:lnTo>
                  <a:close/>
                </a:path>
              </a:pathLst>
            </a:custGeom>
            <a:grpFill/>
            <a:ln w="9525" cap="flat">
              <a:noFill/>
              <a:prstDash val="solid"/>
              <a:miter/>
            </a:ln>
          </p:spPr>
          <p:txBody>
            <a:bodyPr rtlCol="0" anchor="ctr"/>
            <a:lstStyle/>
            <a:p>
              <a:endParaRPr lang="en-US"/>
            </a:p>
          </p:txBody>
        </p:sp>
      </p:grpSp>
      <p:sp>
        <p:nvSpPr>
          <p:cNvPr id="43" name="Grafik 72" descr="Trophäe mit einfarbiger Füllung">
            <a:extLst>
              <a:ext uri="{FF2B5EF4-FFF2-40B4-BE49-F238E27FC236}">
                <a16:creationId xmlns:a16="http://schemas.microsoft.com/office/drawing/2014/main" id="{3FF14617-CEF7-41A2-AFBA-E7ABA7126ED4}"/>
              </a:ext>
            </a:extLst>
          </p:cNvPr>
          <p:cNvSpPr/>
          <p:nvPr/>
        </p:nvSpPr>
        <p:spPr>
          <a:xfrm>
            <a:off x="4794592" y="2023847"/>
            <a:ext cx="691808" cy="779766"/>
          </a:xfrm>
          <a:custGeom>
            <a:avLst/>
            <a:gdLst>
              <a:gd name="connsiteX0" fmla="*/ 570548 w 666750"/>
              <a:gd name="connsiteY0" fmla="*/ 361950 h 751522"/>
              <a:gd name="connsiteX1" fmla="*/ 437198 w 666750"/>
              <a:gd name="connsiteY1" fmla="*/ 425768 h 751522"/>
              <a:gd name="connsiteX2" fmla="*/ 494348 w 666750"/>
              <a:gd name="connsiteY2" fmla="*/ 367665 h 751522"/>
              <a:gd name="connsiteX3" fmla="*/ 516255 w 666750"/>
              <a:gd name="connsiteY3" fmla="*/ 339090 h 751522"/>
              <a:gd name="connsiteX4" fmla="*/ 541973 w 666750"/>
              <a:gd name="connsiteY4" fmla="*/ 248602 h 751522"/>
              <a:gd name="connsiteX5" fmla="*/ 541973 w 666750"/>
              <a:gd name="connsiteY5" fmla="*/ 124778 h 751522"/>
              <a:gd name="connsiteX6" fmla="*/ 608648 w 666750"/>
              <a:gd name="connsiteY6" fmla="*/ 124778 h 751522"/>
              <a:gd name="connsiteX7" fmla="*/ 608648 w 666750"/>
              <a:gd name="connsiteY7" fmla="*/ 269558 h 751522"/>
              <a:gd name="connsiteX8" fmla="*/ 570548 w 666750"/>
              <a:gd name="connsiteY8" fmla="*/ 361950 h 751522"/>
              <a:gd name="connsiteX9" fmla="*/ 97155 w 666750"/>
              <a:gd name="connsiteY9" fmla="*/ 361950 h 751522"/>
              <a:gd name="connsiteX10" fmla="*/ 57150 w 666750"/>
              <a:gd name="connsiteY10" fmla="*/ 269558 h 751522"/>
              <a:gd name="connsiteX11" fmla="*/ 57150 w 666750"/>
              <a:gd name="connsiteY11" fmla="*/ 123825 h 751522"/>
              <a:gd name="connsiteX12" fmla="*/ 123825 w 666750"/>
              <a:gd name="connsiteY12" fmla="*/ 123825 h 751522"/>
              <a:gd name="connsiteX13" fmla="*/ 123825 w 666750"/>
              <a:gd name="connsiteY13" fmla="*/ 247650 h 751522"/>
              <a:gd name="connsiteX14" fmla="*/ 149543 w 666750"/>
              <a:gd name="connsiteY14" fmla="*/ 338138 h 751522"/>
              <a:gd name="connsiteX15" fmla="*/ 171450 w 666750"/>
              <a:gd name="connsiteY15" fmla="*/ 366713 h 751522"/>
              <a:gd name="connsiteX16" fmla="*/ 228600 w 666750"/>
              <a:gd name="connsiteY16" fmla="*/ 424815 h 751522"/>
              <a:gd name="connsiteX17" fmla="*/ 97155 w 666750"/>
              <a:gd name="connsiteY17" fmla="*/ 361950 h 751522"/>
              <a:gd name="connsiteX18" fmla="*/ 666750 w 666750"/>
              <a:gd name="connsiteY18" fmla="*/ 266700 h 751522"/>
              <a:gd name="connsiteX19" fmla="*/ 666750 w 666750"/>
              <a:gd name="connsiteY19" fmla="*/ 66675 h 751522"/>
              <a:gd name="connsiteX20" fmla="*/ 542925 w 666750"/>
              <a:gd name="connsiteY20" fmla="*/ 66675 h 751522"/>
              <a:gd name="connsiteX21" fmla="*/ 542925 w 666750"/>
              <a:gd name="connsiteY21" fmla="*/ 0 h 751522"/>
              <a:gd name="connsiteX22" fmla="*/ 333375 w 666750"/>
              <a:gd name="connsiteY22" fmla="*/ 0 h 751522"/>
              <a:gd name="connsiteX23" fmla="*/ 123825 w 666750"/>
              <a:gd name="connsiteY23" fmla="*/ 0 h 751522"/>
              <a:gd name="connsiteX24" fmla="*/ 123825 w 666750"/>
              <a:gd name="connsiteY24" fmla="*/ 66675 h 751522"/>
              <a:gd name="connsiteX25" fmla="*/ 0 w 666750"/>
              <a:gd name="connsiteY25" fmla="*/ 66675 h 751522"/>
              <a:gd name="connsiteX26" fmla="*/ 0 w 666750"/>
              <a:gd name="connsiteY26" fmla="*/ 265748 h 751522"/>
              <a:gd name="connsiteX27" fmla="*/ 54293 w 666750"/>
              <a:gd name="connsiteY27" fmla="*/ 399098 h 751522"/>
              <a:gd name="connsiteX28" fmla="*/ 281940 w 666750"/>
              <a:gd name="connsiteY28" fmla="*/ 484823 h 751522"/>
              <a:gd name="connsiteX29" fmla="*/ 295275 w 666750"/>
              <a:gd name="connsiteY29" fmla="*/ 532448 h 751522"/>
              <a:gd name="connsiteX30" fmla="*/ 295275 w 666750"/>
              <a:gd name="connsiteY30" fmla="*/ 656273 h 751522"/>
              <a:gd name="connsiteX31" fmla="*/ 247650 w 666750"/>
              <a:gd name="connsiteY31" fmla="*/ 656273 h 751522"/>
              <a:gd name="connsiteX32" fmla="*/ 209550 w 666750"/>
              <a:gd name="connsiteY32" fmla="*/ 694373 h 751522"/>
              <a:gd name="connsiteX33" fmla="*/ 161925 w 666750"/>
              <a:gd name="connsiteY33" fmla="*/ 694373 h 751522"/>
              <a:gd name="connsiteX34" fmla="*/ 123825 w 666750"/>
              <a:gd name="connsiteY34" fmla="*/ 732473 h 751522"/>
              <a:gd name="connsiteX35" fmla="*/ 123825 w 666750"/>
              <a:gd name="connsiteY35" fmla="*/ 751523 h 751522"/>
              <a:gd name="connsiteX36" fmla="*/ 542925 w 666750"/>
              <a:gd name="connsiteY36" fmla="*/ 751523 h 751522"/>
              <a:gd name="connsiteX37" fmla="*/ 542925 w 666750"/>
              <a:gd name="connsiteY37" fmla="*/ 732473 h 751522"/>
              <a:gd name="connsiteX38" fmla="*/ 504825 w 666750"/>
              <a:gd name="connsiteY38" fmla="*/ 694373 h 751522"/>
              <a:gd name="connsiteX39" fmla="*/ 457200 w 666750"/>
              <a:gd name="connsiteY39" fmla="*/ 694373 h 751522"/>
              <a:gd name="connsiteX40" fmla="*/ 419100 w 666750"/>
              <a:gd name="connsiteY40" fmla="*/ 656273 h 751522"/>
              <a:gd name="connsiteX41" fmla="*/ 371475 w 666750"/>
              <a:gd name="connsiteY41" fmla="*/ 656273 h 751522"/>
              <a:gd name="connsiteX42" fmla="*/ 371475 w 666750"/>
              <a:gd name="connsiteY42" fmla="*/ 533400 h 751522"/>
              <a:gd name="connsiteX43" fmla="*/ 384810 w 666750"/>
              <a:gd name="connsiteY43" fmla="*/ 485775 h 751522"/>
              <a:gd name="connsiteX44" fmla="*/ 612458 w 666750"/>
              <a:gd name="connsiteY44" fmla="*/ 400050 h 751522"/>
              <a:gd name="connsiteX45" fmla="*/ 666750 w 666750"/>
              <a:gd name="connsiteY45" fmla="*/ 266700 h 751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66750" h="751522">
                <a:moveTo>
                  <a:pt x="570548" y="361950"/>
                </a:moveTo>
                <a:cubicBezTo>
                  <a:pt x="537210" y="396240"/>
                  <a:pt x="505778" y="418148"/>
                  <a:pt x="437198" y="425768"/>
                </a:cubicBezTo>
                <a:cubicBezTo>
                  <a:pt x="455295" y="407670"/>
                  <a:pt x="476250" y="389573"/>
                  <a:pt x="494348" y="367665"/>
                </a:cubicBezTo>
                <a:cubicBezTo>
                  <a:pt x="501967" y="359093"/>
                  <a:pt x="516255" y="340043"/>
                  <a:pt x="516255" y="339090"/>
                </a:cubicBezTo>
                <a:cubicBezTo>
                  <a:pt x="532448" y="312420"/>
                  <a:pt x="541973" y="281940"/>
                  <a:pt x="541973" y="248602"/>
                </a:cubicBezTo>
                <a:lnTo>
                  <a:pt x="541973" y="124778"/>
                </a:lnTo>
                <a:lnTo>
                  <a:pt x="608648" y="124778"/>
                </a:lnTo>
                <a:lnTo>
                  <a:pt x="608648" y="269558"/>
                </a:lnTo>
                <a:cubicBezTo>
                  <a:pt x="609600" y="271463"/>
                  <a:pt x="611505" y="319088"/>
                  <a:pt x="570548" y="361950"/>
                </a:cubicBezTo>
                <a:close/>
                <a:moveTo>
                  <a:pt x="97155" y="361950"/>
                </a:moveTo>
                <a:cubicBezTo>
                  <a:pt x="55245" y="319088"/>
                  <a:pt x="57150" y="271463"/>
                  <a:pt x="57150" y="269558"/>
                </a:cubicBezTo>
                <a:lnTo>
                  <a:pt x="57150" y="123825"/>
                </a:lnTo>
                <a:lnTo>
                  <a:pt x="123825" y="123825"/>
                </a:lnTo>
                <a:lnTo>
                  <a:pt x="123825" y="247650"/>
                </a:lnTo>
                <a:cubicBezTo>
                  <a:pt x="123825" y="280988"/>
                  <a:pt x="133350" y="311468"/>
                  <a:pt x="149543" y="338138"/>
                </a:cubicBezTo>
                <a:cubicBezTo>
                  <a:pt x="149543" y="339090"/>
                  <a:pt x="163830" y="359093"/>
                  <a:pt x="171450" y="366713"/>
                </a:cubicBezTo>
                <a:cubicBezTo>
                  <a:pt x="190500" y="388620"/>
                  <a:pt x="210502" y="406718"/>
                  <a:pt x="228600" y="424815"/>
                </a:cubicBezTo>
                <a:cubicBezTo>
                  <a:pt x="161925" y="417195"/>
                  <a:pt x="129540" y="395288"/>
                  <a:pt x="97155" y="361950"/>
                </a:cubicBezTo>
                <a:close/>
                <a:moveTo>
                  <a:pt x="666750" y="266700"/>
                </a:moveTo>
                <a:lnTo>
                  <a:pt x="666750" y="66675"/>
                </a:lnTo>
                <a:lnTo>
                  <a:pt x="542925" y="66675"/>
                </a:lnTo>
                <a:lnTo>
                  <a:pt x="542925" y="0"/>
                </a:lnTo>
                <a:lnTo>
                  <a:pt x="333375" y="0"/>
                </a:lnTo>
                <a:lnTo>
                  <a:pt x="123825" y="0"/>
                </a:lnTo>
                <a:lnTo>
                  <a:pt x="123825" y="66675"/>
                </a:lnTo>
                <a:lnTo>
                  <a:pt x="0" y="66675"/>
                </a:lnTo>
                <a:lnTo>
                  <a:pt x="0" y="265748"/>
                </a:lnTo>
                <a:cubicBezTo>
                  <a:pt x="0" y="275273"/>
                  <a:pt x="0" y="340995"/>
                  <a:pt x="54293" y="399098"/>
                </a:cubicBezTo>
                <a:cubicBezTo>
                  <a:pt x="106680" y="454343"/>
                  <a:pt x="170498" y="482918"/>
                  <a:pt x="281940" y="484823"/>
                </a:cubicBezTo>
                <a:cubicBezTo>
                  <a:pt x="290513" y="499110"/>
                  <a:pt x="295275" y="515303"/>
                  <a:pt x="295275" y="532448"/>
                </a:cubicBezTo>
                <a:lnTo>
                  <a:pt x="295275" y="656273"/>
                </a:lnTo>
                <a:lnTo>
                  <a:pt x="247650" y="656273"/>
                </a:lnTo>
                <a:cubicBezTo>
                  <a:pt x="226695" y="656273"/>
                  <a:pt x="209550" y="673418"/>
                  <a:pt x="209550" y="694373"/>
                </a:cubicBezTo>
                <a:lnTo>
                  <a:pt x="161925" y="694373"/>
                </a:lnTo>
                <a:cubicBezTo>
                  <a:pt x="140970" y="694373"/>
                  <a:pt x="123825" y="711518"/>
                  <a:pt x="123825" y="732473"/>
                </a:cubicBezTo>
                <a:lnTo>
                  <a:pt x="123825" y="751523"/>
                </a:lnTo>
                <a:lnTo>
                  <a:pt x="542925" y="751523"/>
                </a:lnTo>
                <a:lnTo>
                  <a:pt x="542925" y="732473"/>
                </a:lnTo>
                <a:cubicBezTo>
                  <a:pt x="542925" y="711518"/>
                  <a:pt x="525780" y="694373"/>
                  <a:pt x="504825" y="694373"/>
                </a:cubicBezTo>
                <a:lnTo>
                  <a:pt x="457200" y="694373"/>
                </a:lnTo>
                <a:cubicBezTo>
                  <a:pt x="457200" y="673418"/>
                  <a:pt x="440055" y="656273"/>
                  <a:pt x="419100" y="656273"/>
                </a:cubicBezTo>
                <a:lnTo>
                  <a:pt x="371475" y="656273"/>
                </a:lnTo>
                <a:lnTo>
                  <a:pt x="371475" y="533400"/>
                </a:lnTo>
                <a:cubicBezTo>
                  <a:pt x="371475" y="516255"/>
                  <a:pt x="376238" y="500063"/>
                  <a:pt x="384810" y="485775"/>
                </a:cubicBezTo>
                <a:cubicBezTo>
                  <a:pt x="496253" y="483870"/>
                  <a:pt x="560070" y="454343"/>
                  <a:pt x="612458" y="400050"/>
                </a:cubicBezTo>
                <a:cubicBezTo>
                  <a:pt x="666750" y="342900"/>
                  <a:pt x="666750" y="276225"/>
                  <a:pt x="666750" y="266700"/>
                </a:cubicBezTo>
                <a:close/>
              </a:path>
            </a:pathLst>
          </a:custGeom>
          <a:solidFill>
            <a:srgbClr val="FFFFFF"/>
          </a:solidFill>
          <a:ln w="9525" cap="flat">
            <a:noFill/>
            <a:prstDash val="solid"/>
            <a:miter/>
          </a:ln>
        </p:spPr>
        <p:txBody>
          <a:bodyPr rtlCol="0" anchor="ctr"/>
          <a:lstStyle/>
          <a:p>
            <a:endParaRPr lang="en-US"/>
          </a:p>
        </p:txBody>
      </p:sp>
      <p:sp>
        <p:nvSpPr>
          <p:cNvPr id="48" name="Grafik 46">
            <a:extLst>
              <a:ext uri="{FF2B5EF4-FFF2-40B4-BE49-F238E27FC236}">
                <a16:creationId xmlns:a16="http://schemas.microsoft.com/office/drawing/2014/main" id="{5DA31DA8-46FC-48D9-945F-3FC7B23D782A}"/>
              </a:ext>
            </a:extLst>
          </p:cNvPr>
          <p:cNvSpPr/>
          <p:nvPr/>
        </p:nvSpPr>
        <p:spPr>
          <a:xfrm>
            <a:off x="10423336" y="2130547"/>
            <a:ext cx="957516" cy="566367"/>
          </a:xfrm>
          <a:custGeom>
            <a:avLst/>
            <a:gdLst>
              <a:gd name="connsiteX0" fmla="*/ 511745 w 1336351"/>
              <a:gd name="connsiteY0" fmla="*/ 619742 h 790446"/>
              <a:gd name="connsiteX1" fmla="*/ 682354 w 1336351"/>
              <a:gd name="connsiteY1" fmla="*/ 718237 h 790446"/>
              <a:gd name="connsiteX2" fmla="*/ 682344 w 1336351"/>
              <a:gd name="connsiteY2" fmla="*/ 790341 h 790446"/>
              <a:gd name="connsiteX3" fmla="*/ 572906 w 1336351"/>
              <a:gd name="connsiteY3" fmla="*/ 790341 h 790446"/>
              <a:gd name="connsiteX4" fmla="*/ 367872 w 1336351"/>
              <a:gd name="connsiteY4" fmla="*/ 671961 h 790446"/>
              <a:gd name="connsiteX5" fmla="*/ 398014 w 1336351"/>
              <a:gd name="connsiteY5" fmla="*/ 619742 h 790446"/>
              <a:gd name="connsiteX6" fmla="*/ 522588 w 1336351"/>
              <a:gd name="connsiteY6" fmla="*/ 483527 h 790446"/>
              <a:gd name="connsiteX7" fmla="*/ 411434 w 1336351"/>
              <a:gd name="connsiteY7" fmla="*/ 372378 h 790446"/>
              <a:gd name="connsiteX8" fmla="*/ 441421 w 1336351"/>
              <a:gd name="connsiteY8" fmla="*/ 320440 h 790446"/>
              <a:gd name="connsiteX9" fmla="*/ 367546 w 1336351"/>
              <a:gd name="connsiteY9" fmla="*/ 277790 h 790446"/>
              <a:gd name="connsiteX10" fmla="*/ 211168 w 1336351"/>
              <a:gd name="connsiteY10" fmla="*/ 548655 h 790446"/>
              <a:gd name="connsiteX11" fmla="*/ 332835 w 1336351"/>
              <a:gd name="connsiteY11" fmla="*/ 618899 h 790446"/>
              <a:gd name="connsiteX12" fmla="*/ 365179 w 1336351"/>
              <a:gd name="connsiteY12" fmla="*/ 562869 h 790446"/>
              <a:gd name="connsiteX13" fmla="*/ 526981 w 1336351"/>
              <a:gd name="connsiteY13" fmla="*/ 562869 h 790446"/>
              <a:gd name="connsiteX14" fmla="*/ 739222 w 1336351"/>
              <a:gd name="connsiteY14" fmla="*/ 685402 h 790446"/>
              <a:gd name="connsiteX15" fmla="*/ 739217 w 1336351"/>
              <a:gd name="connsiteY15" fmla="*/ 733613 h 790446"/>
              <a:gd name="connsiteX16" fmla="*/ 739222 w 1336351"/>
              <a:gd name="connsiteY16" fmla="*/ 733613 h 790446"/>
              <a:gd name="connsiteX17" fmla="*/ 796086 w 1336351"/>
              <a:gd name="connsiteY17" fmla="*/ 788526 h 790446"/>
              <a:gd name="connsiteX18" fmla="*/ 1023548 w 1336351"/>
              <a:gd name="connsiteY18" fmla="*/ 705041 h 790446"/>
              <a:gd name="connsiteX19" fmla="*/ 1023548 w 1336351"/>
              <a:gd name="connsiteY19" fmla="*/ 641538 h 790446"/>
              <a:gd name="connsiteX20" fmla="*/ 760407 w 1336351"/>
              <a:gd name="connsiteY20" fmla="*/ 425535 h 790446"/>
              <a:gd name="connsiteX21" fmla="*/ 968721 w 1336351"/>
              <a:gd name="connsiteY21" fmla="*/ 277790 h 790446"/>
              <a:gd name="connsiteX22" fmla="*/ 918182 w 1336351"/>
              <a:gd name="connsiteY22" fmla="*/ 306974 h 790446"/>
              <a:gd name="connsiteX23" fmla="*/ 739222 w 1336351"/>
              <a:gd name="connsiteY23" fmla="*/ 221674 h 790446"/>
              <a:gd name="connsiteX24" fmla="*/ 483318 w 1336351"/>
              <a:gd name="connsiteY24" fmla="*/ 363847 h 790446"/>
              <a:gd name="connsiteX25" fmla="*/ 540186 w 1336351"/>
              <a:gd name="connsiteY25" fmla="*/ 420711 h 790446"/>
              <a:gd name="connsiteX26" fmla="*/ 774535 w 1336351"/>
              <a:gd name="connsiteY26" fmla="*/ 363562 h 790446"/>
              <a:gd name="connsiteX27" fmla="*/ 1050561 w 1336351"/>
              <a:gd name="connsiteY27" fmla="*/ 590142 h 790446"/>
              <a:gd name="connsiteX28" fmla="*/ 1051238 w 1336351"/>
              <a:gd name="connsiteY28" fmla="*/ 591305 h 790446"/>
              <a:gd name="connsiteX29" fmla="*/ 1051679 w 1336351"/>
              <a:gd name="connsiteY29" fmla="*/ 591049 h 790446"/>
              <a:gd name="connsiteX30" fmla="*/ 1051980 w 1336351"/>
              <a:gd name="connsiteY30" fmla="*/ 591305 h 790446"/>
              <a:gd name="connsiteX31" fmla="*/ 1051824 w 1336351"/>
              <a:gd name="connsiteY31" fmla="*/ 590964 h 790446"/>
              <a:gd name="connsiteX32" fmla="*/ 1125107 w 1336351"/>
              <a:gd name="connsiteY32" fmla="*/ 548655 h 790446"/>
              <a:gd name="connsiteX33" fmla="*/ 989540 w 1336351"/>
              <a:gd name="connsiteY33" fmla="*/ 200114 h 790446"/>
              <a:gd name="connsiteX34" fmla="*/ 1202784 w 1336351"/>
              <a:gd name="connsiteY34" fmla="*/ 569474 h 790446"/>
              <a:gd name="connsiteX35" fmla="*/ 1336301 w 1336351"/>
              <a:gd name="connsiteY35" fmla="*/ 492384 h 790446"/>
              <a:gd name="connsiteX36" fmla="*/ 1336301 w 1336351"/>
              <a:gd name="connsiteY36" fmla="*/ -96 h 790446"/>
              <a:gd name="connsiteX37" fmla="*/ -51 w 1336351"/>
              <a:gd name="connsiteY37" fmla="*/ -106 h 790446"/>
              <a:gd name="connsiteX38" fmla="*/ -51 w 1336351"/>
              <a:gd name="connsiteY38" fmla="*/ 492374 h 790446"/>
              <a:gd name="connsiteX39" fmla="*/ 133486 w 1336351"/>
              <a:gd name="connsiteY39" fmla="*/ 569474 h 790446"/>
              <a:gd name="connsiteX40" fmla="*/ 346732 w 1336351"/>
              <a:gd name="connsiteY40" fmla="*/ 200114 h 79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336351" h="790446">
                <a:moveTo>
                  <a:pt x="511745" y="619742"/>
                </a:moveTo>
                <a:lnTo>
                  <a:pt x="682354" y="718237"/>
                </a:lnTo>
                <a:lnTo>
                  <a:pt x="682344" y="790341"/>
                </a:lnTo>
                <a:lnTo>
                  <a:pt x="572906" y="790341"/>
                </a:lnTo>
                <a:lnTo>
                  <a:pt x="367872" y="671961"/>
                </a:lnTo>
                <a:lnTo>
                  <a:pt x="398014" y="619742"/>
                </a:lnTo>
                <a:close/>
                <a:moveTo>
                  <a:pt x="522588" y="483527"/>
                </a:moveTo>
                <a:lnTo>
                  <a:pt x="411434" y="372378"/>
                </a:lnTo>
                <a:lnTo>
                  <a:pt x="441421" y="320440"/>
                </a:lnTo>
                <a:lnTo>
                  <a:pt x="367546" y="277790"/>
                </a:lnTo>
                <a:lnTo>
                  <a:pt x="211168" y="548655"/>
                </a:lnTo>
                <a:lnTo>
                  <a:pt x="332835" y="618899"/>
                </a:lnTo>
                <a:lnTo>
                  <a:pt x="365179" y="562869"/>
                </a:lnTo>
                <a:lnTo>
                  <a:pt x="526981" y="562869"/>
                </a:lnTo>
                <a:lnTo>
                  <a:pt x="739222" y="685402"/>
                </a:lnTo>
                <a:lnTo>
                  <a:pt x="739217" y="733613"/>
                </a:lnTo>
                <a:lnTo>
                  <a:pt x="739222" y="733613"/>
                </a:lnTo>
                <a:lnTo>
                  <a:pt x="796086" y="788526"/>
                </a:lnTo>
                <a:lnTo>
                  <a:pt x="1023548" y="705041"/>
                </a:lnTo>
                <a:lnTo>
                  <a:pt x="1023548" y="641538"/>
                </a:lnTo>
                <a:lnTo>
                  <a:pt x="760407" y="425535"/>
                </a:lnTo>
                <a:close/>
                <a:moveTo>
                  <a:pt x="968721" y="277790"/>
                </a:moveTo>
                <a:lnTo>
                  <a:pt x="918182" y="306974"/>
                </a:lnTo>
                <a:lnTo>
                  <a:pt x="739222" y="221674"/>
                </a:lnTo>
                <a:lnTo>
                  <a:pt x="483318" y="363847"/>
                </a:lnTo>
                <a:lnTo>
                  <a:pt x="540186" y="420711"/>
                </a:lnTo>
                <a:lnTo>
                  <a:pt x="774535" y="363562"/>
                </a:lnTo>
                <a:lnTo>
                  <a:pt x="1050561" y="590142"/>
                </a:lnTo>
                <a:lnTo>
                  <a:pt x="1051238" y="591305"/>
                </a:lnTo>
                <a:lnTo>
                  <a:pt x="1051679" y="591049"/>
                </a:lnTo>
                <a:lnTo>
                  <a:pt x="1051980" y="591305"/>
                </a:lnTo>
                <a:lnTo>
                  <a:pt x="1051824" y="590964"/>
                </a:lnTo>
                <a:lnTo>
                  <a:pt x="1125107" y="548655"/>
                </a:lnTo>
                <a:close/>
                <a:moveTo>
                  <a:pt x="989540" y="200114"/>
                </a:moveTo>
                <a:lnTo>
                  <a:pt x="1202784" y="569474"/>
                </a:lnTo>
                <a:lnTo>
                  <a:pt x="1336301" y="492384"/>
                </a:lnTo>
                <a:lnTo>
                  <a:pt x="1336301" y="-96"/>
                </a:lnTo>
                <a:close/>
                <a:moveTo>
                  <a:pt x="-51" y="-106"/>
                </a:moveTo>
                <a:lnTo>
                  <a:pt x="-51" y="492374"/>
                </a:lnTo>
                <a:lnTo>
                  <a:pt x="133486" y="569474"/>
                </a:lnTo>
                <a:lnTo>
                  <a:pt x="346732" y="200114"/>
                </a:lnTo>
                <a:close/>
              </a:path>
            </a:pathLst>
          </a:custGeom>
          <a:solidFill>
            <a:srgbClr val="FFFFFF"/>
          </a:solidFill>
          <a:ln w="5013" cap="flat">
            <a:noFill/>
            <a:prstDash val="solid"/>
            <a:miter/>
          </a:ln>
        </p:spPr>
        <p:txBody>
          <a:bodyPr rtlCol="0" anchor="ctr"/>
          <a:lstStyle/>
          <a:p>
            <a:endParaRPr lang="en-US"/>
          </a:p>
        </p:txBody>
      </p:sp>
      <p:sp>
        <p:nvSpPr>
          <p:cNvPr id="51" name="Grafik 49">
            <a:extLst>
              <a:ext uri="{FF2B5EF4-FFF2-40B4-BE49-F238E27FC236}">
                <a16:creationId xmlns:a16="http://schemas.microsoft.com/office/drawing/2014/main" id="{810FE784-41F4-4D10-BAF7-B1CE1232B771}"/>
              </a:ext>
            </a:extLst>
          </p:cNvPr>
          <p:cNvSpPr/>
          <p:nvPr/>
        </p:nvSpPr>
        <p:spPr>
          <a:xfrm>
            <a:off x="8573501" y="2014363"/>
            <a:ext cx="816123" cy="798734"/>
          </a:xfrm>
          <a:custGeom>
            <a:avLst/>
            <a:gdLst>
              <a:gd name="connsiteX0" fmla="*/ 539 w 2538135"/>
              <a:gd name="connsiteY0" fmla="*/ 1576575 h 2484053"/>
              <a:gd name="connsiteX1" fmla="*/ -51 w 2538135"/>
              <a:gd name="connsiteY1" fmla="*/ 1584785 h 2484053"/>
              <a:gd name="connsiteX2" fmla="*/ -51 w 2538135"/>
              <a:gd name="connsiteY2" fmla="*/ 1576575 h 2484053"/>
              <a:gd name="connsiteX3" fmla="*/ 674947 w 2538135"/>
              <a:gd name="connsiteY3" fmla="*/ 1800784 h 2484053"/>
              <a:gd name="connsiteX4" fmla="*/ 674947 w 2538135"/>
              <a:gd name="connsiteY4" fmla="*/ 1792573 h 2484053"/>
              <a:gd name="connsiteX5" fmla="*/ 674356 w 2538135"/>
              <a:gd name="connsiteY5" fmla="*/ 1792573 h 2484053"/>
              <a:gd name="connsiteX6" fmla="*/ 674947 w 2538135"/>
              <a:gd name="connsiteY6" fmla="*/ 1800784 h 2484053"/>
              <a:gd name="connsiteX7" fmla="*/ 337449 w 2538135"/>
              <a:gd name="connsiteY7" fmla="*/ 1944002 h 2484053"/>
              <a:gd name="connsiteX8" fmla="*/ -50 w 2538135"/>
              <a:gd name="connsiteY8" fmla="*/ 1800784 h 2484053"/>
              <a:gd name="connsiteX9" fmla="*/ -50 w 2538135"/>
              <a:gd name="connsiteY9" fmla="*/ 1916998 h 2484053"/>
              <a:gd name="connsiteX10" fmla="*/ 540 w 2538135"/>
              <a:gd name="connsiteY10" fmla="*/ 1916998 h 2484053"/>
              <a:gd name="connsiteX11" fmla="*/ 337449 w 2538135"/>
              <a:gd name="connsiteY11" fmla="*/ 2052006 h 2484053"/>
              <a:gd name="connsiteX12" fmla="*/ 674356 w 2538135"/>
              <a:gd name="connsiteY12" fmla="*/ 1916998 h 2484053"/>
              <a:gd name="connsiteX13" fmla="*/ 674947 w 2538135"/>
              <a:gd name="connsiteY13" fmla="*/ 1916998 h 2484053"/>
              <a:gd name="connsiteX14" fmla="*/ 674947 w 2538135"/>
              <a:gd name="connsiteY14" fmla="*/ 1800784 h 2484053"/>
              <a:gd name="connsiteX15" fmla="*/ 337449 w 2538135"/>
              <a:gd name="connsiteY15" fmla="*/ 1944002 h 2484053"/>
              <a:gd name="connsiteX16" fmla="*/ -50 w 2538135"/>
              <a:gd name="connsiteY16" fmla="*/ 1360567 h 2484053"/>
              <a:gd name="connsiteX17" fmla="*/ -50 w 2538135"/>
              <a:gd name="connsiteY17" fmla="*/ 1368787 h 2484053"/>
              <a:gd name="connsiteX18" fmla="*/ 540 w 2538135"/>
              <a:gd name="connsiteY18" fmla="*/ 1360567 h 2484053"/>
              <a:gd name="connsiteX19" fmla="*/ 337449 w 2538135"/>
              <a:gd name="connsiteY19" fmla="*/ 1512005 h 2484053"/>
              <a:gd name="connsiteX20" fmla="*/ -50 w 2538135"/>
              <a:gd name="connsiteY20" fmla="*/ 1368787 h 2484053"/>
              <a:gd name="connsiteX21" fmla="*/ -50 w 2538135"/>
              <a:gd name="connsiteY21" fmla="*/ 1485001 h 2484053"/>
              <a:gd name="connsiteX22" fmla="*/ 540 w 2538135"/>
              <a:gd name="connsiteY22" fmla="*/ 1485001 h 2484053"/>
              <a:gd name="connsiteX23" fmla="*/ 337449 w 2538135"/>
              <a:gd name="connsiteY23" fmla="*/ 1620009 h 2484053"/>
              <a:gd name="connsiteX24" fmla="*/ 674356 w 2538135"/>
              <a:gd name="connsiteY24" fmla="*/ 1485001 h 2484053"/>
              <a:gd name="connsiteX25" fmla="*/ 674947 w 2538135"/>
              <a:gd name="connsiteY25" fmla="*/ 1485001 h 2484053"/>
              <a:gd name="connsiteX26" fmla="*/ 674947 w 2538135"/>
              <a:gd name="connsiteY26" fmla="*/ 1368787 h 2484053"/>
              <a:gd name="connsiteX27" fmla="*/ 337449 w 2538135"/>
              <a:gd name="connsiteY27" fmla="*/ 1512005 h 2484053"/>
              <a:gd name="connsiteX28" fmla="*/ -50 w 2538135"/>
              <a:gd name="connsiteY28" fmla="*/ 1792573 h 2484053"/>
              <a:gd name="connsiteX29" fmla="*/ -50 w 2538135"/>
              <a:gd name="connsiteY29" fmla="*/ 1800784 h 2484053"/>
              <a:gd name="connsiteX30" fmla="*/ 540 w 2538135"/>
              <a:gd name="connsiteY30" fmla="*/ 1792573 h 2484053"/>
              <a:gd name="connsiteX31" fmla="*/ 337449 w 2538135"/>
              <a:gd name="connsiteY31" fmla="*/ 1728003 h 2484053"/>
              <a:gd name="connsiteX32" fmla="*/ -50 w 2538135"/>
              <a:gd name="connsiteY32" fmla="*/ 1584785 h 2484053"/>
              <a:gd name="connsiteX33" fmla="*/ -50 w 2538135"/>
              <a:gd name="connsiteY33" fmla="*/ 1701009 h 2484053"/>
              <a:gd name="connsiteX34" fmla="*/ 540 w 2538135"/>
              <a:gd name="connsiteY34" fmla="*/ 1701009 h 2484053"/>
              <a:gd name="connsiteX35" fmla="*/ 337449 w 2538135"/>
              <a:gd name="connsiteY35" fmla="*/ 1836007 h 2484053"/>
              <a:gd name="connsiteX36" fmla="*/ 674356 w 2538135"/>
              <a:gd name="connsiteY36" fmla="*/ 1701009 h 2484053"/>
              <a:gd name="connsiteX37" fmla="*/ 674947 w 2538135"/>
              <a:gd name="connsiteY37" fmla="*/ 1701009 h 2484053"/>
              <a:gd name="connsiteX38" fmla="*/ 674947 w 2538135"/>
              <a:gd name="connsiteY38" fmla="*/ 1584785 h 2484053"/>
              <a:gd name="connsiteX39" fmla="*/ 337449 w 2538135"/>
              <a:gd name="connsiteY39" fmla="*/ 1728003 h 2484053"/>
              <a:gd name="connsiteX40" fmla="*/ 674947 w 2538135"/>
              <a:gd name="connsiteY40" fmla="*/ 1584785 h 2484053"/>
              <a:gd name="connsiteX41" fmla="*/ 674947 w 2538135"/>
              <a:gd name="connsiteY41" fmla="*/ 1576575 h 2484053"/>
              <a:gd name="connsiteX42" fmla="*/ 674356 w 2538135"/>
              <a:gd name="connsiteY42" fmla="*/ 1576575 h 2484053"/>
              <a:gd name="connsiteX43" fmla="*/ 674947 w 2538135"/>
              <a:gd name="connsiteY43" fmla="*/ 1584785 h 2484053"/>
              <a:gd name="connsiteX44" fmla="*/ -51 w 2538135"/>
              <a:gd name="connsiteY44" fmla="*/ 2224570 h 2484053"/>
              <a:gd name="connsiteX45" fmla="*/ -51 w 2538135"/>
              <a:gd name="connsiteY45" fmla="*/ 2232790 h 2484053"/>
              <a:gd name="connsiteX46" fmla="*/ 539 w 2538135"/>
              <a:gd name="connsiteY46" fmla="*/ 2224570 h 2484053"/>
              <a:gd name="connsiteX47" fmla="*/ 337448 w 2538135"/>
              <a:gd name="connsiteY47" fmla="*/ 324004 h 2484053"/>
              <a:gd name="connsiteX48" fmla="*/ 674356 w 2538135"/>
              <a:gd name="connsiteY48" fmla="*/ 189005 h 2484053"/>
              <a:gd name="connsiteX49" fmla="*/ 674356 w 2538135"/>
              <a:gd name="connsiteY49" fmla="*/ 189005 h 2484053"/>
              <a:gd name="connsiteX50" fmla="*/ 337448 w 2538135"/>
              <a:gd name="connsiteY50" fmla="*/ 54004 h 2484053"/>
              <a:gd name="connsiteX51" fmla="*/ 539 w 2538135"/>
              <a:gd name="connsiteY51" fmla="*/ 189005 h 2484053"/>
              <a:gd name="connsiteX52" fmla="*/ 539 w 2538135"/>
              <a:gd name="connsiteY52" fmla="*/ 189005 h 2484053"/>
              <a:gd name="connsiteX53" fmla="*/ 337449 w 2538135"/>
              <a:gd name="connsiteY53" fmla="*/ 324004 h 2484053"/>
              <a:gd name="connsiteX54" fmla="*/ 337448 w 2538135"/>
              <a:gd name="connsiteY54" fmla="*/ 2375998 h 2484053"/>
              <a:gd name="connsiteX55" fmla="*/ -51 w 2538135"/>
              <a:gd name="connsiteY55" fmla="*/ 2232790 h 2484053"/>
              <a:gd name="connsiteX56" fmla="*/ -51 w 2538135"/>
              <a:gd name="connsiteY56" fmla="*/ 2349005 h 2484053"/>
              <a:gd name="connsiteX57" fmla="*/ 539 w 2538135"/>
              <a:gd name="connsiteY57" fmla="*/ 2349005 h 2484053"/>
              <a:gd name="connsiteX58" fmla="*/ 337449 w 2538135"/>
              <a:gd name="connsiteY58" fmla="*/ 2484003 h 2484053"/>
              <a:gd name="connsiteX59" fmla="*/ 674356 w 2538135"/>
              <a:gd name="connsiteY59" fmla="*/ 2349005 h 2484053"/>
              <a:gd name="connsiteX60" fmla="*/ 674947 w 2538135"/>
              <a:gd name="connsiteY60" fmla="*/ 2349005 h 2484053"/>
              <a:gd name="connsiteX61" fmla="*/ 674947 w 2538135"/>
              <a:gd name="connsiteY61" fmla="*/ 2232790 h 2484053"/>
              <a:gd name="connsiteX62" fmla="*/ 337449 w 2538135"/>
              <a:gd name="connsiteY62" fmla="*/ 2375998 h 2484053"/>
              <a:gd name="connsiteX63" fmla="*/ 674947 w 2538135"/>
              <a:gd name="connsiteY63" fmla="*/ 2016782 h 2484053"/>
              <a:gd name="connsiteX64" fmla="*/ 674947 w 2538135"/>
              <a:gd name="connsiteY64" fmla="*/ 2008572 h 2484053"/>
              <a:gd name="connsiteX65" fmla="*/ 674356 w 2538135"/>
              <a:gd name="connsiteY65" fmla="*/ 2008572 h 2484053"/>
              <a:gd name="connsiteX66" fmla="*/ 674947 w 2538135"/>
              <a:gd name="connsiteY66" fmla="*/ 2016782 h 2484053"/>
              <a:gd name="connsiteX67" fmla="*/ 337448 w 2538135"/>
              <a:gd name="connsiteY67" fmla="*/ 2160000 h 2484053"/>
              <a:gd name="connsiteX68" fmla="*/ -51 w 2538135"/>
              <a:gd name="connsiteY68" fmla="*/ 2016782 h 2484053"/>
              <a:gd name="connsiteX69" fmla="*/ -51 w 2538135"/>
              <a:gd name="connsiteY69" fmla="*/ 2133006 h 2484053"/>
              <a:gd name="connsiteX70" fmla="*/ 539 w 2538135"/>
              <a:gd name="connsiteY70" fmla="*/ 2133006 h 2484053"/>
              <a:gd name="connsiteX71" fmla="*/ 337448 w 2538135"/>
              <a:gd name="connsiteY71" fmla="*/ 2268004 h 2484053"/>
              <a:gd name="connsiteX72" fmla="*/ 674356 w 2538135"/>
              <a:gd name="connsiteY72" fmla="*/ 2133006 h 2484053"/>
              <a:gd name="connsiteX73" fmla="*/ 674947 w 2538135"/>
              <a:gd name="connsiteY73" fmla="*/ 2133006 h 2484053"/>
              <a:gd name="connsiteX74" fmla="*/ 674947 w 2538135"/>
              <a:gd name="connsiteY74" fmla="*/ 2016782 h 2484053"/>
              <a:gd name="connsiteX75" fmla="*/ 337449 w 2538135"/>
              <a:gd name="connsiteY75" fmla="*/ 2160000 h 2484053"/>
              <a:gd name="connsiteX76" fmla="*/ 674947 w 2538135"/>
              <a:gd name="connsiteY76" fmla="*/ 2232790 h 2484053"/>
              <a:gd name="connsiteX77" fmla="*/ 674947 w 2538135"/>
              <a:gd name="connsiteY77" fmla="*/ 2224570 h 2484053"/>
              <a:gd name="connsiteX78" fmla="*/ 674356 w 2538135"/>
              <a:gd name="connsiteY78" fmla="*/ 2224570 h 2484053"/>
              <a:gd name="connsiteX79" fmla="*/ 674947 w 2538135"/>
              <a:gd name="connsiteY79" fmla="*/ 2232790 h 2484053"/>
              <a:gd name="connsiteX80" fmla="*/ -51 w 2538135"/>
              <a:gd name="connsiteY80" fmla="*/ 2008572 h 2484053"/>
              <a:gd name="connsiteX81" fmla="*/ -51 w 2538135"/>
              <a:gd name="connsiteY81" fmla="*/ 2016792 h 2484053"/>
              <a:gd name="connsiteX82" fmla="*/ 539 w 2538135"/>
              <a:gd name="connsiteY82" fmla="*/ 2008572 h 2484053"/>
              <a:gd name="connsiteX83" fmla="*/ -51 w 2538135"/>
              <a:gd name="connsiteY83" fmla="*/ 928570 h 2484053"/>
              <a:gd name="connsiteX84" fmla="*/ -51 w 2538135"/>
              <a:gd name="connsiteY84" fmla="*/ 936790 h 2484053"/>
              <a:gd name="connsiteX85" fmla="*/ 539 w 2538135"/>
              <a:gd name="connsiteY85" fmla="*/ 928570 h 2484053"/>
              <a:gd name="connsiteX86" fmla="*/ 674947 w 2538135"/>
              <a:gd name="connsiteY86" fmla="*/ 1368787 h 2484053"/>
              <a:gd name="connsiteX87" fmla="*/ 674947 w 2538135"/>
              <a:gd name="connsiteY87" fmla="*/ 1360567 h 2484053"/>
              <a:gd name="connsiteX88" fmla="*/ 674356 w 2538135"/>
              <a:gd name="connsiteY88" fmla="*/ 1360567 h 2484053"/>
              <a:gd name="connsiteX89" fmla="*/ 674947 w 2538135"/>
              <a:gd name="connsiteY89" fmla="*/ 1368787 h 2484053"/>
              <a:gd name="connsiteX90" fmla="*/ 674947 w 2538135"/>
              <a:gd name="connsiteY90" fmla="*/ 504784 h 2484053"/>
              <a:gd name="connsiteX91" fmla="*/ 674947 w 2538135"/>
              <a:gd name="connsiteY91" fmla="*/ 496573 h 2484053"/>
              <a:gd name="connsiteX92" fmla="*/ 674356 w 2538135"/>
              <a:gd name="connsiteY92" fmla="*/ 496573 h 2484053"/>
              <a:gd name="connsiteX93" fmla="*/ 674947 w 2538135"/>
              <a:gd name="connsiteY93" fmla="*/ 504784 h 2484053"/>
              <a:gd name="connsiteX94" fmla="*/ 674947 w 2538135"/>
              <a:gd name="connsiteY94" fmla="*/ 720791 h 2484053"/>
              <a:gd name="connsiteX95" fmla="*/ 674947 w 2538135"/>
              <a:gd name="connsiteY95" fmla="*/ 712571 h 2484053"/>
              <a:gd name="connsiteX96" fmla="*/ 674356 w 2538135"/>
              <a:gd name="connsiteY96" fmla="*/ 712571 h 2484053"/>
              <a:gd name="connsiteX97" fmla="*/ 674947 w 2538135"/>
              <a:gd name="connsiteY97" fmla="*/ 720782 h 2484053"/>
              <a:gd name="connsiteX98" fmla="*/ -51 w 2538135"/>
              <a:gd name="connsiteY98" fmla="*/ 496573 h 2484053"/>
              <a:gd name="connsiteX99" fmla="*/ -51 w 2538135"/>
              <a:gd name="connsiteY99" fmla="*/ 504784 h 2484053"/>
              <a:gd name="connsiteX100" fmla="*/ 539 w 2538135"/>
              <a:gd name="connsiteY100" fmla="*/ 496573 h 2484053"/>
              <a:gd name="connsiteX101" fmla="*/ 674947 w 2538135"/>
              <a:gd name="connsiteY101" fmla="*/ 288788 h 2484053"/>
              <a:gd name="connsiteX102" fmla="*/ 674947 w 2538135"/>
              <a:gd name="connsiteY102" fmla="*/ 280572 h 2484053"/>
              <a:gd name="connsiteX103" fmla="*/ 674356 w 2538135"/>
              <a:gd name="connsiteY103" fmla="*/ 280572 h 2484053"/>
              <a:gd name="connsiteX104" fmla="*/ 674947 w 2538135"/>
              <a:gd name="connsiteY104" fmla="*/ 288788 h 2484053"/>
              <a:gd name="connsiteX105" fmla="*/ -51 w 2538135"/>
              <a:gd name="connsiteY105" fmla="*/ 280572 h 2484053"/>
              <a:gd name="connsiteX106" fmla="*/ -51 w 2538135"/>
              <a:gd name="connsiteY106" fmla="*/ 288788 h 2484053"/>
              <a:gd name="connsiteX107" fmla="*/ 539 w 2538135"/>
              <a:gd name="connsiteY107" fmla="*/ 280572 h 2484053"/>
              <a:gd name="connsiteX108" fmla="*/ 337448 w 2538135"/>
              <a:gd name="connsiteY108" fmla="*/ 432004 h 2484053"/>
              <a:gd name="connsiteX109" fmla="*/ -51 w 2538135"/>
              <a:gd name="connsiteY109" fmla="*/ 288788 h 2484053"/>
              <a:gd name="connsiteX110" fmla="*/ -51 w 2538135"/>
              <a:gd name="connsiteY110" fmla="*/ 405003 h 2484053"/>
              <a:gd name="connsiteX111" fmla="*/ 539 w 2538135"/>
              <a:gd name="connsiteY111" fmla="*/ 405003 h 2484053"/>
              <a:gd name="connsiteX112" fmla="*/ 337448 w 2538135"/>
              <a:gd name="connsiteY112" fmla="*/ 540007 h 2484053"/>
              <a:gd name="connsiteX113" fmla="*/ 674356 w 2538135"/>
              <a:gd name="connsiteY113" fmla="*/ 405003 h 2484053"/>
              <a:gd name="connsiteX114" fmla="*/ 674947 w 2538135"/>
              <a:gd name="connsiteY114" fmla="*/ 405003 h 2484053"/>
              <a:gd name="connsiteX115" fmla="*/ 674947 w 2538135"/>
              <a:gd name="connsiteY115" fmla="*/ 288788 h 2484053"/>
              <a:gd name="connsiteX116" fmla="*/ 337449 w 2538135"/>
              <a:gd name="connsiteY116" fmla="*/ 432004 h 2484053"/>
              <a:gd name="connsiteX117" fmla="*/ 337448 w 2538135"/>
              <a:gd name="connsiteY117" fmla="*/ 648001 h 2484053"/>
              <a:gd name="connsiteX118" fmla="*/ -51 w 2538135"/>
              <a:gd name="connsiteY118" fmla="*/ 504784 h 2484053"/>
              <a:gd name="connsiteX119" fmla="*/ -51 w 2538135"/>
              <a:gd name="connsiteY119" fmla="*/ 621008 h 2484053"/>
              <a:gd name="connsiteX120" fmla="*/ 539 w 2538135"/>
              <a:gd name="connsiteY120" fmla="*/ 621008 h 2484053"/>
              <a:gd name="connsiteX121" fmla="*/ 337448 w 2538135"/>
              <a:gd name="connsiteY121" fmla="*/ 756005 h 2484053"/>
              <a:gd name="connsiteX122" fmla="*/ 674356 w 2538135"/>
              <a:gd name="connsiteY122" fmla="*/ 621008 h 2484053"/>
              <a:gd name="connsiteX123" fmla="*/ 674947 w 2538135"/>
              <a:gd name="connsiteY123" fmla="*/ 621008 h 2484053"/>
              <a:gd name="connsiteX124" fmla="*/ 674947 w 2538135"/>
              <a:gd name="connsiteY124" fmla="*/ 504784 h 2484053"/>
              <a:gd name="connsiteX125" fmla="*/ 337449 w 2538135"/>
              <a:gd name="connsiteY125" fmla="*/ 648001 h 2484053"/>
              <a:gd name="connsiteX126" fmla="*/ 674947 w 2538135"/>
              <a:gd name="connsiteY126" fmla="*/ 1152788 h 2484053"/>
              <a:gd name="connsiteX127" fmla="*/ 674947 w 2538135"/>
              <a:gd name="connsiteY127" fmla="*/ 1144568 h 2484053"/>
              <a:gd name="connsiteX128" fmla="*/ 674356 w 2538135"/>
              <a:gd name="connsiteY128" fmla="*/ 1144568 h 2484053"/>
              <a:gd name="connsiteX129" fmla="*/ 674947 w 2538135"/>
              <a:gd name="connsiteY129" fmla="*/ 1152788 h 2484053"/>
              <a:gd name="connsiteX130" fmla="*/ 337448 w 2538135"/>
              <a:gd name="connsiteY130" fmla="*/ 1296006 h 2484053"/>
              <a:gd name="connsiteX131" fmla="*/ -51 w 2538135"/>
              <a:gd name="connsiteY131" fmla="*/ 1152788 h 2484053"/>
              <a:gd name="connsiteX132" fmla="*/ -51 w 2538135"/>
              <a:gd name="connsiteY132" fmla="*/ 1269003 h 2484053"/>
              <a:gd name="connsiteX133" fmla="*/ 539 w 2538135"/>
              <a:gd name="connsiteY133" fmla="*/ 1269003 h 2484053"/>
              <a:gd name="connsiteX134" fmla="*/ 337448 w 2538135"/>
              <a:gd name="connsiteY134" fmla="*/ 1404001 h 2484053"/>
              <a:gd name="connsiteX135" fmla="*/ 674356 w 2538135"/>
              <a:gd name="connsiteY135" fmla="*/ 1269003 h 2484053"/>
              <a:gd name="connsiteX136" fmla="*/ 674947 w 2538135"/>
              <a:gd name="connsiteY136" fmla="*/ 1269003 h 2484053"/>
              <a:gd name="connsiteX137" fmla="*/ 674947 w 2538135"/>
              <a:gd name="connsiteY137" fmla="*/ 1152788 h 2484053"/>
              <a:gd name="connsiteX138" fmla="*/ 337449 w 2538135"/>
              <a:gd name="connsiteY138" fmla="*/ 1296006 h 2484053"/>
              <a:gd name="connsiteX139" fmla="*/ -51 w 2538135"/>
              <a:gd name="connsiteY139" fmla="*/ 1144568 h 2484053"/>
              <a:gd name="connsiteX140" fmla="*/ -51 w 2538135"/>
              <a:gd name="connsiteY140" fmla="*/ 1152788 h 2484053"/>
              <a:gd name="connsiteX141" fmla="*/ 539 w 2538135"/>
              <a:gd name="connsiteY141" fmla="*/ 1144568 h 2484053"/>
              <a:gd name="connsiteX142" fmla="*/ 337448 w 2538135"/>
              <a:gd name="connsiteY142" fmla="*/ 864000 h 2484053"/>
              <a:gd name="connsiteX143" fmla="*/ -51 w 2538135"/>
              <a:gd name="connsiteY143" fmla="*/ 720782 h 2484053"/>
              <a:gd name="connsiteX144" fmla="*/ -51 w 2538135"/>
              <a:gd name="connsiteY144" fmla="*/ 837006 h 2484053"/>
              <a:gd name="connsiteX145" fmla="*/ 539 w 2538135"/>
              <a:gd name="connsiteY145" fmla="*/ 837006 h 2484053"/>
              <a:gd name="connsiteX146" fmla="*/ 337448 w 2538135"/>
              <a:gd name="connsiteY146" fmla="*/ 972004 h 2484053"/>
              <a:gd name="connsiteX147" fmla="*/ 674356 w 2538135"/>
              <a:gd name="connsiteY147" fmla="*/ 837006 h 2484053"/>
              <a:gd name="connsiteX148" fmla="*/ 674947 w 2538135"/>
              <a:gd name="connsiteY148" fmla="*/ 837006 h 2484053"/>
              <a:gd name="connsiteX149" fmla="*/ 674947 w 2538135"/>
              <a:gd name="connsiteY149" fmla="*/ 720782 h 2484053"/>
              <a:gd name="connsiteX150" fmla="*/ 337449 w 2538135"/>
              <a:gd name="connsiteY150" fmla="*/ 864000 h 2484053"/>
              <a:gd name="connsiteX151" fmla="*/ -51 w 2538135"/>
              <a:gd name="connsiteY151" fmla="*/ 712571 h 2484053"/>
              <a:gd name="connsiteX152" fmla="*/ -51 w 2538135"/>
              <a:gd name="connsiteY152" fmla="*/ 720782 h 2484053"/>
              <a:gd name="connsiteX153" fmla="*/ 539 w 2538135"/>
              <a:gd name="connsiteY153" fmla="*/ 712571 h 2484053"/>
              <a:gd name="connsiteX154" fmla="*/ 337448 w 2538135"/>
              <a:gd name="connsiteY154" fmla="*/ 1079998 h 2484053"/>
              <a:gd name="connsiteX155" fmla="*/ -51 w 2538135"/>
              <a:gd name="connsiteY155" fmla="*/ 936790 h 2484053"/>
              <a:gd name="connsiteX156" fmla="*/ -51 w 2538135"/>
              <a:gd name="connsiteY156" fmla="*/ 1053004 h 2484053"/>
              <a:gd name="connsiteX157" fmla="*/ 539 w 2538135"/>
              <a:gd name="connsiteY157" fmla="*/ 1053004 h 2484053"/>
              <a:gd name="connsiteX158" fmla="*/ 337448 w 2538135"/>
              <a:gd name="connsiteY158" fmla="*/ 1188002 h 2484053"/>
              <a:gd name="connsiteX159" fmla="*/ 674356 w 2538135"/>
              <a:gd name="connsiteY159" fmla="*/ 1053004 h 2484053"/>
              <a:gd name="connsiteX160" fmla="*/ 674947 w 2538135"/>
              <a:gd name="connsiteY160" fmla="*/ 1053004 h 2484053"/>
              <a:gd name="connsiteX161" fmla="*/ 674947 w 2538135"/>
              <a:gd name="connsiteY161" fmla="*/ 936790 h 2484053"/>
              <a:gd name="connsiteX162" fmla="*/ 337449 w 2538135"/>
              <a:gd name="connsiteY162" fmla="*/ 1079998 h 2484053"/>
              <a:gd name="connsiteX163" fmla="*/ 674947 w 2538135"/>
              <a:gd name="connsiteY163" fmla="*/ 936790 h 2484053"/>
              <a:gd name="connsiteX164" fmla="*/ 674947 w 2538135"/>
              <a:gd name="connsiteY164" fmla="*/ 928570 h 2484053"/>
              <a:gd name="connsiteX165" fmla="*/ 674356 w 2538135"/>
              <a:gd name="connsiteY165" fmla="*/ 928570 h 2484053"/>
              <a:gd name="connsiteX166" fmla="*/ 674947 w 2538135"/>
              <a:gd name="connsiteY166" fmla="*/ 936790 h 2484053"/>
              <a:gd name="connsiteX167" fmla="*/ 1255448 w 2538135"/>
              <a:gd name="connsiteY167" fmla="*/ 2160000 h 2484053"/>
              <a:gd name="connsiteX168" fmla="*/ 917948 w 2538135"/>
              <a:gd name="connsiteY168" fmla="*/ 2016792 h 2484053"/>
              <a:gd name="connsiteX169" fmla="*/ 917948 w 2538135"/>
              <a:gd name="connsiteY169" fmla="*/ 2133006 h 2484053"/>
              <a:gd name="connsiteX170" fmla="*/ 918539 w 2538135"/>
              <a:gd name="connsiteY170" fmla="*/ 2133006 h 2484053"/>
              <a:gd name="connsiteX171" fmla="*/ 1255448 w 2538135"/>
              <a:gd name="connsiteY171" fmla="*/ 2268004 h 2484053"/>
              <a:gd name="connsiteX172" fmla="*/ 1592357 w 2538135"/>
              <a:gd name="connsiteY172" fmla="*/ 2133006 h 2484053"/>
              <a:gd name="connsiteX173" fmla="*/ 1592947 w 2538135"/>
              <a:gd name="connsiteY173" fmla="*/ 2133006 h 2484053"/>
              <a:gd name="connsiteX174" fmla="*/ 1592947 w 2538135"/>
              <a:gd name="connsiteY174" fmla="*/ 2016792 h 2484053"/>
              <a:gd name="connsiteX175" fmla="*/ 1255448 w 2538135"/>
              <a:gd name="connsiteY175" fmla="*/ 2160000 h 2484053"/>
              <a:gd name="connsiteX176" fmla="*/ 1592947 w 2538135"/>
              <a:gd name="connsiteY176" fmla="*/ 2016792 h 2484053"/>
              <a:gd name="connsiteX177" fmla="*/ 1592947 w 2538135"/>
              <a:gd name="connsiteY177" fmla="*/ 2008572 h 2484053"/>
              <a:gd name="connsiteX178" fmla="*/ 1592357 w 2538135"/>
              <a:gd name="connsiteY178" fmla="*/ 2008572 h 2484053"/>
              <a:gd name="connsiteX179" fmla="*/ 1592947 w 2538135"/>
              <a:gd name="connsiteY179" fmla="*/ 2016792 h 2484053"/>
              <a:gd name="connsiteX180" fmla="*/ 1592947 w 2538135"/>
              <a:gd name="connsiteY180" fmla="*/ 1800784 h 2484053"/>
              <a:gd name="connsiteX181" fmla="*/ 1592947 w 2538135"/>
              <a:gd name="connsiteY181" fmla="*/ 1792573 h 2484053"/>
              <a:gd name="connsiteX182" fmla="*/ 1592357 w 2538135"/>
              <a:gd name="connsiteY182" fmla="*/ 1792573 h 2484053"/>
              <a:gd name="connsiteX183" fmla="*/ 1592947 w 2538135"/>
              <a:gd name="connsiteY183" fmla="*/ 1800784 h 2484053"/>
              <a:gd name="connsiteX184" fmla="*/ 1255448 w 2538135"/>
              <a:gd name="connsiteY184" fmla="*/ 1944002 h 2484053"/>
              <a:gd name="connsiteX185" fmla="*/ 917948 w 2538135"/>
              <a:gd name="connsiteY185" fmla="*/ 1800784 h 2484053"/>
              <a:gd name="connsiteX186" fmla="*/ 917948 w 2538135"/>
              <a:gd name="connsiteY186" fmla="*/ 1917008 h 2484053"/>
              <a:gd name="connsiteX187" fmla="*/ 918539 w 2538135"/>
              <a:gd name="connsiteY187" fmla="*/ 1917008 h 2484053"/>
              <a:gd name="connsiteX188" fmla="*/ 1255448 w 2538135"/>
              <a:gd name="connsiteY188" fmla="*/ 2052006 h 2484053"/>
              <a:gd name="connsiteX189" fmla="*/ 1592357 w 2538135"/>
              <a:gd name="connsiteY189" fmla="*/ 1917008 h 2484053"/>
              <a:gd name="connsiteX190" fmla="*/ 1592947 w 2538135"/>
              <a:gd name="connsiteY190" fmla="*/ 1917008 h 2484053"/>
              <a:gd name="connsiteX191" fmla="*/ 1592947 w 2538135"/>
              <a:gd name="connsiteY191" fmla="*/ 1800784 h 2484053"/>
              <a:gd name="connsiteX192" fmla="*/ 1255448 w 2538135"/>
              <a:gd name="connsiteY192" fmla="*/ 1944002 h 2484053"/>
              <a:gd name="connsiteX193" fmla="*/ 1592947 w 2538135"/>
              <a:gd name="connsiteY193" fmla="*/ 2232781 h 2484053"/>
              <a:gd name="connsiteX194" fmla="*/ 1592947 w 2538135"/>
              <a:gd name="connsiteY194" fmla="*/ 2224570 h 2484053"/>
              <a:gd name="connsiteX195" fmla="*/ 1592357 w 2538135"/>
              <a:gd name="connsiteY195" fmla="*/ 2224570 h 2484053"/>
              <a:gd name="connsiteX196" fmla="*/ 1592947 w 2538135"/>
              <a:gd name="connsiteY196" fmla="*/ 2232790 h 2484053"/>
              <a:gd name="connsiteX197" fmla="*/ 1255448 w 2538135"/>
              <a:gd name="connsiteY197" fmla="*/ 2376008 h 2484053"/>
              <a:gd name="connsiteX198" fmla="*/ 917948 w 2538135"/>
              <a:gd name="connsiteY198" fmla="*/ 2232781 h 2484053"/>
              <a:gd name="connsiteX199" fmla="*/ 917948 w 2538135"/>
              <a:gd name="connsiteY199" fmla="*/ 2332574 h 2484053"/>
              <a:gd name="connsiteX200" fmla="*/ 918539 w 2538135"/>
              <a:gd name="connsiteY200" fmla="*/ 2332574 h 2484053"/>
              <a:gd name="connsiteX201" fmla="*/ 917948 w 2538135"/>
              <a:gd name="connsiteY201" fmla="*/ 2340785 h 2484053"/>
              <a:gd name="connsiteX202" fmla="*/ 1255448 w 2538135"/>
              <a:gd name="connsiteY202" fmla="*/ 2484003 h 2484053"/>
              <a:gd name="connsiteX203" fmla="*/ 1592947 w 2538135"/>
              <a:gd name="connsiteY203" fmla="*/ 2340785 h 2484053"/>
              <a:gd name="connsiteX204" fmla="*/ 1592357 w 2538135"/>
              <a:gd name="connsiteY204" fmla="*/ 2332574 h 2484053"/>
              <a:gd name="connsiteX205" fmla="*/ 1592947 w 2538135"/>
              <a:gd name="connsiteY205" fmla="*/ 2332574 h 2484053"/>
              <a:gd name="connsiteX206" fmla="*/ 1592947 w 2538135"/>
              <a:gd name="connsiteY206" fmla="*/ 2232781 h 2484053"/>
              <a:gd name="connsiteX207" fmla="*/ 1255448 w 2538135"/>
              <a:gd name="connsiteY207" fmla="*/ 2376008 h 2484053"/>
              <a:gd name="connsiteX208" fmla="*/ 917948 w 2538135"/>
              <a:gd name="connsiteY208" fmla="*/ 2224570 h 2484053"/>
              <a:gd name="connsiteX209" fmla="*/ 917948 w 2538135"/>
              <a:gd name="connsiteY209" fmla="*/ 2232781 h 2484053"/>
              <a:gd name="connsiteX210" fmla="*/ 918539 w 2538135"/>
              <a:gd name="connsiteY210" fmla="*/ 2224570 h 2484053"/>
              <a:gd name="connsiteX211" fmla="*/ 917948 w 2538135"/>
              <a:gd name="connsiteY211" fmla="*/ 2008572 h 2484053"/>
              <a:gd name="connsiteX212" fmla="*/ 917948 w 2538135"/>
              <a:gd name="connsiteY212" fmla="*/ 2016792 h 2484053"/>
              <a:gd name="connsiteX213" fmla="*/ 918539 w 2538135"/>
              <a:gd name="connsiteY213" fmla="*/ 2008572 h 2484053"/>
              <a:gd name="connsiteX214" fmla="*/ 917948 w 2538135"/>
              <a:gd name="connsiteY214" fmla="*/ 1576565 h 2484053"/>
              <a:gd name="connsiteX215" fmla="*/ 917948 w 2538135"/>
              <a:gd name="connsiteY215" fmla="*/ 1584785 h 2484053"/>
              <a:gd name="connsiteX216" fmla="*/ 918539 w 2538135"/>
              <a:gd name="connsiteY216" fmla="*/ 1576565 h 2484053"/>
              <a:gd name="connsiteX217" fmla="*/ 917948 w 2538135"/>
              <a:gd name="connsiteY217" fmla="*/ 1792573 h 2484053"/>
              <a:gd name="connsiteX218" fmla="*/ 917948 w 2538135"/>
              <a:gd name="connsiteY218" fmla="*/ 1800784 h 2484053"/>
              <a:gd name="connsiteX219" fmla="*/ 918539 w 2538135"/>
              <a:gd name="connsiteY219" fmla="*/ 1792573 h 2484053"/>
              <a:gd name="connsiteX220" fmla="*/ 1255448 w 2538135"/>
              <a:gd name="connsiteY220" fmla="*/ 1296006 h 2484053"/>
              <a:gd name="connsiteX221" fmla="*/ 917948 w 2538135"/>
              <a:gd name="connsiteY221" fmla="*/ 1152788 h 2484053"/>
              <a:gd name="connsiteX222" fmla="*/ 917948 w 2538135"/>
              <a:gd name="connsiteY222" fmla="*/ 1269003 h 2484053"/>
              <a:gd name="connsiteX223" fmla="*/ 918539 w 2538135"/>
              <a:gd name="connsiteY223" fmla="*/ 1269003 h 2484053"/>
              <a:gd name="connsiteX224" fmla="*/ 1255448 w 2538135"/>
              <a:gd name="connsiteY224" fmla="*/ 1404001 h 2484053"/>
              <a:gd name="connsiteX225" fmla="*/ 1592357 w 2538135"/>
              <a:gd name="connsiteY225" fmla="*/ 1269003 h 2484053"/>
              <a:gd name="connsiteX226" fmla="*/ 1592947 w 2538135"/>
              <a:gd name="connsiteY226" fmla="*/ 1269003 h 2484053"/>
              <a:gd name="connsiteX227" fmla="*/ 1592947 w 2538135"/>
              <a:gd name="connsiteY227" fmla="*/ 1152788 h 2484053"/>
              <a:gd name="connsiteX228" fmla="*/ 1255448 w 2538135"/>
              <a:gd name="connsiteY228" fmla="*/ 1296006 h 2484053"/>
              <a:gd name="connsiteX229" fmla="*/ 1592947 w 2538135"/>
              <a:gd name="connsiteY229" fmla="*/ 1152788 h 2484053"/>
              <a:gd name="connsiteX230" fmla="*/ 1592947 w 2538135"/>
              <a:gd name="connsiteY230" fmla="*/ 1144568 h 2484053"/>
              <a:gd name="connsiteX231" fmla="*/ 1592357 w 2538135"/>
              <a:gd name="connsiteY231" fmla="*/ 1144568 h 2484053"/>
              <a:gd name="connsiteX232" fmla="*/ 1592947 w 2538135"/>
              <a:gd name="connsiteY232" fmla="*/ 1152788 h 2484053"/>
              <a:gd name="connsiteX233" fmla="*/ 917948 w 2538135"/>
              <a:gd name="connsiteY233" fmla="*/ 1144568 h 2484053"/>
              <a:gd name="connsiteX234" fmla="*/ 917948 w 2538135"/>
              <a:gd name="connsiteY234" fmla="*/ 1152788 h 2484053"/>
              <a:gd name="connsiteX235" fmla="*/ 918539 w 2538135"/>
              <a:gd name="connsiteY235" fmla="*/ 1144568 h 2484053"/>
              <a:gd name="connsiteX236" fmla="*/ 1592357 w 2538135"/>
              <a:gd name="connsiteY236" fmla="*/ 1053004 h 2484053"/>
              <a:gd name="connsiteX237" fmla="*/ 1255448 w 2538135"/>
              <a:gd name="connsiteY237" fmla="*/ 918007 h 2484053"/>
              <a:gd name="connsiteX238" fmla="*/ 918539 w 2538135"/>
              <a:gd name="connsiteY238" fmla="*/ 1053004 h 2484053"/>
              <a:gd name="connsiteX239" fmla="*/ 917948 w 2538135"/>
              <a:gd name="connsiteY239" fmla="*/ 1053004 h 2484053"/>
              <a:gd name="connsiteX240" fmla="*/ 917948 w 2538135"/>
              <a:gd name="connsiteY240" fmla="*/ 1053004 h 2484053"/>
              <a:gd name="connsiteX241" fmla="*/ 918539 w 2538135"/>
              <a:gd name="connsiteY241" fmla="*/ 1053004 h 2484053"/>
              <a:gd name="connsiteX242" fmla="*/ 1255448 w 2538135"/>
              <a:gd name="connsiteY242" fmla="*/ 1188002 h 2484053"/>
              <a:gd name="connsiteX243" fmla="*/ 1592357 w 2538135"/>
              <a:gd name="connsiteY243" fmla="*/ 1053004 h 2484053"/>
              <a:gd name="connsiteX244" fmla="*/ 1592947 w 2538135"/>
              <a:gd name="connsiteY244" fmla="*/ 1053004 h 2484053"/>
              <a:gd name="connsiteX245" fmla="*/ 1592947 w 2538135"/>
              <a:gd name="connsiteY245" fmla="*/ 1053004 h 2484053"/>
              <a:gd name="connsiteX246" fmla="*/ 1255448 w 2538135"/>
              <a:gd name="connsiteY246" fmla="*/ 1512005 h 2484053"/>
              <a:gd name="connsiteX247" fmla="*/ 917948 w 2538135"/>
              <a:gd name="connsiteY247" fmla="*/ 1368787 h 2484053"/>
              <a:gd name="connsiteX248" fmla="*/ 917948 w 2538135"/>
              <a:gd name="connsiteY248" fmla="*/ 1485001 h 2484053"/>
              <a:gd name="connsiteX249" fmla="*/ 918539 w 2538135"/>
              <a:gd name="connsiteY249" fmla="*/ 1485001 h 2484053"/>
              <a:gd name="connsiteX250" fmla="*/ 1255448 w 2538135"/>
              <a:gd name="connsiteY250" fmla="*/ 1620009 h 2484053"/>
              <a:gd name="connsiteX251" fmla="*/ 1592357 w 2538135"/>
              <a:gd name="connsiteY251" fmla="*/ 1485001 h 2484053"/>
              <a:gd name="connsiteX252" fmla="*/ 1592947 w 2538135"/>
              <a:gd name="connsiteY252" fmla="*/ 1485001 h 2484053"/>
              <a:gd name="connsiteX253" fmla="*/ 1592947 w 2538135"/>
              <a:gd name="connsiteY253" fmla="*/ 1368787 h 2484053"/>
              <a:gd name="connsiteX254" fmla="*/ 1255448 w 2538135"/>
              <a:gd name="connsiteY254" fmla="*/ 1512005 h 2484053"/>
              <a:gd name="connsiteX255" fmla="*/ 1592947 w 2538135"/>
              <a:gd name="connsiteY255" fmla="*/ 1584785 h 2484053"/>
              <a:gd name="connsiteX256" fmla="*/ 1592947 w 2538135"/>
              <a:gd name="connsiteY256" fmla="*/ 1576565 h 2484053"/>
              <a:gd name="connsiteX257" fmla="*/ 1592357 w 2538135"/>
              <a:gd name="connsiteY257" fmla="*/ 1576565 h 2484053"/>
              <a:gd name="connsiteX258" fmla="*/ 1592947 w 2538135"/>
              <a:gd name="connsiteY258" fmla="*/ 1584785 h 2484053"/>
              <a:gd name="connsiteX259" fmla="*/ 917948 w 2538135"/>
              <a:gd name="connsiteY259" fmla="*/ 1360567 h 2484053"/>
              <a:gd name="connsiteX260" fmla="*/ 917948 w 2538135"/>
              <a:gd name="connsiteY260" fmla="*/ 1368787 h 2484053"/>
              <a:gd name="connsiteX261" fmla="*/ 918539 w 2538135"/>
              <a:gd name="connsiteY261" fmla="*/ 1360567 h 2484053"/>
              <a:gd name="connsiteX262" fmla="*/ 1592947 w 2538135"/>
              <a:gd name="connsiteY262" fmla="*/ 1368787 h 2484053"/>
              <a:gd name="connsiteX263" fmla="*/ 1592947 w 2538135"/>
              <a:gd name="connsiteY263" fmla="*/ 1360567 h 2484053"/>
              <a:gd name="connsiteX264" fmla="*/ 1592357 w 2538135"/>
              <a:gd name="connsiteY264" fmla="*/ 1360567 h 2484053"/>
              <a:gd name="connsiteX265" fmla="*/ 1592947 w 2538135"/>
              <a:gd name="connsiteY265" fmla="*/ 1368787 h 2484053"/>
              <a:gd name="connsiteX266" fmla="*/ 1255448 w 2538135"/>
              <a:gd name="connsiteY266" fmla="*/ 1728003 h 2484053"/>
              <a:gd name="connsiteX267" fmla="*/ 917948 w 2538135"/>
              <a:gd name="connsiteY267" fmla="*/ 1584785 h 2484053"/>
              <a:gd name="connsiteX268" fmla="*/ 917948 w 2538135"/>
              <a:gd name="connsiteY268" fmla="*/ 1701000 h 2484053"/>
              <a:gd name="connsiteX269" fmla="*/ 918539 w 2538135"/>
              <a:gd name="connsiteY269" fmla="*/ 1701000 h 2484053"/>
              <a:gd name="connsiteX270" fmla="*/ 1255448 w 2538135"/>
              <a:gd name="connsiteY270" fmla="*/ 1835998 h 2484053"/>
              <a:gd name="connsiteX271" fmla="*/ 1592357 w 2538135"/>
              <a:gd name="connsiteY271" fmla="*/ 1701000 h 2484053"/>
              <a:gd name="connsiteX272" fmla="*/ 1592947 w 2538135"/>
              <a:gd name="connsiteY272" fmla="*/ 1701000 h 2484053"/>
              <a:gd name="connsiteX273" fmla="*/ 1592947 w 2538135"/>
              <a:gd name="connsiteY273" fmla="*/ 1584785 h 2484053"/>
              <a:gd name="connsiteX274" fmla="*/ 1255448 w 2538135"/>
              <a:gd name="connsiteY274" fmla="*/ 1728003 h 2484053"/>
              <a:gd name="connsiteX275" fmla="*/ 2537951 w 2538135"/>
              <a:gd name="connsiteY275" fmla="*/ 2232781 h 2484053"/>
              <a:gd name="connsiteX276" fmla="*/ 2537951 w 2538135"/>
              <a:gd name="connsiteY276" fmla="*/ 2224570 h 2484053"/>
              <a:gd name="connsiteX277" fmla="*/ 2537361 w 2538135"/>
              <a:gd name="connsiteY277" fmla="*/ 2224570 h 2484053"/>
              <a:gd name="connsiteX278" fmla="*/ 2537951 w 2538135"/>
              <a:gd name="connsiteY278" fmla="*/ 2232781 h 2484053"/>
              <a:gd name="connsiteX279" fmla="*/ 2200452 w 2538135"/>
              <a:gd name="connsiteY279" fmla="*/ 2376008 h 2484053"/>
              <a:gd name="connsiteX280" fmla="*/ 1862952 w 2538135"/>
              <a:gd name="connsiteY280" fmla="*/ 2232781 h 2484053"/>
              <a:gd name="connsiteX281" fmla="*/ 1862952 w 2538135"/>
              <a:gd name="connsiteY281" fmla="*/ 2349005 h 2484053"/>
              <a:gd name="connsiteX282" fmla="*/ 1863543 w 2538135"/>
              <a:gd name="connsiteY282" fmla="*/ 2349005 h 2484053"/>
              <a:gd name="connsiteX283" fmla="*/ 2200452 w 2538135"/>
              <a:gd name="connsiteY283" fmla="*/ 2484003 h 2484053"/>
              <a:gd name="connsiteX284" fmla="*/ 2537361 w 2538135"/>
              <a:gd name="connsiteY284" fmla="*/ 2349005 h 2484053"/>
              <a:gd name="connsiteX285" fmla="*/ 2537951 w 2538135"/>
              <a:gd name="connsiteY285" fmla="*/ 2349005 h 2484053"/>
              <a:gd name="connsiteX286" fmla="*/ 2537951 w 2538135"/>
              <a:gd name="connsiteY286" fmla="*/ 2232781 h 2484053"/>
              <a:gd name="connsiteX287" fmla="*/ 2200452 w 2538135"/>
              <a:gd name="connsiteY287" fmla="*/ 2376008 h 2484053"/>
              <a:gd name="connsiteX288" fmla="*/ 2200452 w 2538135"/>
              <a:gd name="connsiteY288" fmla="*/ 1835998 h 2484053"/>
              <a:gd name="connsiteX289" fmla="*/ 2537361 w 2538135"/>
              <a:gd name="connsiteY289" fmla="*/ 1701000 h 2484053"/>
              <a:gd name="connsiteX290" fmla="*/ 2537361 w 2538135"/>
              <a:gd name="connsiteY290" fmla="*/ 1701000 h 2484053"/>
              <a:gd name="connsiteX291" fmla="*/ 2200452 w 2538135"/>
              <a:gd name="connsiteY291" fmla="*/ 1566002 h 2484053"/>
              <a:gd name="connsiteX292" fmla="*/ 1863543 w 2538135"/>
              <a:gd name="connsiteY292" fmla="*/ 1701000 h 2484053"/>
              <a:gd name="connsiteX293" fmla="*/ 1863543 w 2538135"/>
              <a:gd name="connsiteY293" fmla="*/ 1701000 h 2484053"/>
              <a:gd name="connsiteX294" fmla="*/ 2200452 w 2538135"/>
              <a:gd name="connsiteY294" fmla="*/ 1835998 h 2484053"/>
              <a:gd name="connsiteX295" fmla="*/ 1862952 w 2538135"/>
              <a:gd name="connsiteY295" fmla="*/ 2224570 h 2484053"/>
              <a:gd name="connsiteX296" fmla="*/ 1862952 w 2538135"/>
              <a:gd name="connsiteY296" fmla="*/ 2232781 h 2484053"/>
              <a:gd name="connsiteX297" fmla="*/ 1863543 w 2538135"/>
              <a:gd name="connsiteY297" fmla="*/ 2224570 h 2484053"/>
              <a:gd name="connsiteX298" fmla="*/ 1862952 w 2538135"/>
              <a:gd name="connsiteY298" fmla="*/ 2008572 h 2484053"/>
              <a:gd name="connsiteX299" fmla="*/ 1862952 w 2538135"/>
              <a:gd name="connsiteY299" fmla="*/ 2016792 h 2484053"/>
              <a:gd name="connsiteX300" fmla="*/ 1863543 w 2538135"/>
              <a:gd name="connsiteY300" fmla="*/ 2008572 h 2484053"/>
              <a:gd name="connsiteX301" fmla="*/ 2537951 w 2538135"/>
              <a:gd name="connsiteY301" fmla="*/ 1800784 h 2484053"/>
              <a:gd name="connsiteX302" fmla="*/ 2537951 w 2538135"/>
              <a:gd name="connsiteY302" fmla="*/ 1792573 h 2484053"/>
              <a:gd name="connsiteX303" fmla="*/ 2537361 w 2538135"/>
              <a:gd name="connsiteY303" fmla="*/ 1792573 h 2484053"/>
              <a:gd name="connsiteX304" fmla="*/ 2537951 w 2538135"/>
              <a:gd name="connsiteY304" fmla="*/ 1800784 h 2484053"/>
              <a:gd name="connsiteX305" fmla="*/ 1862952 w 2538135"/>
              <a:gd name="connsiteY305" fmla="*/ 1792573 h 2484053"/>
              <a:gd name="connsiteX306" fmla="*/ 1862952 w 2538135"/>
              <a:gd name="connsiteY306" fmla="*/ 1800784 h 2484053"/>
              <a:gd name="connsiteX307" fmla="*/ 1863543 w 2538135"/>
              <a:gd name="connsiteY307" fmla="*/ 1792573 h 2484053"/>
              <a:gd name="connsiteX308" fmla="*/ 2200452 w 2538135"/>
              <a:gd name="connsiteY308" fmla="*/ 1944002 h 2484053"/>
              <a:gd name="connsiteX309" fmla="*/ 1862952 w 2538135"/>
              <a:gd name="connsiteY309" fmla="*/ 1800784 h 2484053"/>
              <a:gd name="connsiteX310" fmla="*/ 1862952 w 2538135"/>
              <a:gd name="connsiteY310" fmla="*/ 1917008 h 2484053"/>
              <a:gd name="connsiteX311" fmla="*/ 1863543 w 2538135"/>
              <a:gd name="connsiteY311" fmla="*/ 1917008 h 2484053"/>
              <a:gd name="connsiteX312" fmla="*/ 2200452 w 2538135"/>
              <a:gd name="connsiteY312" fmla="*/ 2052006 h 2484053"/>
              <a:gd name="connsiteX313" fmla="*/ 2537361 w 2538135"/>
              <a:gd name="connsiteY313" fmla="*/ 1917008 h 2484053"/>
              <a:gd name="connsiteX314" fmla="*/ 2537951 w 2538135"/>
              <a:gd name="connsiteY314" fmla="*/ 1917008 h 2484053"/>
              <a:gd name="connsiteX315" fmla="*/ 2537951 w 2538135"/>
              <a:gd name="connsiteY315" fmla="*/ 1800784 h 2484053"/>
              <a:gd name="connsiteX316" fmla="*/ 2200452 w 2538135"/>
              <a:gd name="connsiteY316" fmla="*/ 1944002 h 2484053"/>
              <a:gd name="connsiteX317" fmla="*/ 2200452 w 2538135"/>
              <a:gd name="connsiteY317" fmla="*/ 2160000 h 2484053"/>
              <a:gd name="connsiteX318" fmla="*/ 1862952 w 2538135"/>
              <a:gd name="connsiteY318" fmla="*/ 2016792 h 2484053"/>
              <a:gd name="connsiteX319" fmla="*/ 1862952 w 2538135"/>
              <a:gd name="connsiteY319" fmla="*/ 2133006 h 2484053"/>
              <a:gd name="connsiteX320" fmla="*/ 1863543 w 2538135"/>
              <a:gd name="connsiteY320" fmla="*/ 2133006 h 2484053"/>
              <a:gd name="connsiteX321" fmla="*/ 2200452 w 2538135"/>
              <a:gd name="connsiteY321" fmla="*/ 2268004 h 2484053"/>
              <a:gd name="connsiteX322" fmla="*/ 2537361 w 2538135"/>
              <a:gd name="connsiteY322" fmla="*/ 2133006 h 2484053"/>
              <a:gd name="connsiteX323" fmla="*/ 2537951 w 2538135"/>
              <a:gd name="connsiteY323" fmla="*/ 2133006 h 2484053"/>
              <a:gd name="connsiteX324" fmla="*/ 2537951 w 2538135"/>
              <a:gd name="connsiteY324" fmla="*/ 2016792 h 2484053"/>
              <a:gd name="connsiteX325" fmla="*/ 2200452 w 2538135"/>
              <a:gd name="connsiteY325" fmla="*/ 2160000 h 2484053"/>
              <a:gd name="connsiteX326" fmla="*/ 2537951 w 2538135"/>
              <a:gd name="connsiteY326" fmla="*/ 2016792 h 2484053"/>
              <a:gd name="connsiteX327" fmla="*/ 2537951 w 2538135"/>
              <a:gd name="connsiteY327" fmla="*/ 2008572 h 2484053"/>
              <a:gd name="connsiteX328" fmla="*/ 2537361 w 2538135"/>
              <a:gd name="connsiteY328" fmla="*/ 2008572 h 2484053"/>
              <a:gd name="connsiteX329" fmla="*/ 2537951 w 2538135"/>
              <a:gd name="connsiteY329" fmla="*/ 2016792 h 2484053"/>
              <a:gd name="connsiteX330" fmla="*/ 1836044 w 2538135"/>
              <a:gd name="connsiteY330" fmla="*/ 836796 h 2484053"/>
              <a:gd name="connsiteX331" fmla="*/ 1836082 w 2538135"/>
              <a:gd name="connsiteY331" fmla="*/ 674948 h 2484053"/>
              <a:gd name="connsiteX332" fmla="*/ 2193127 w 2538135"/>
              <a:gd name="connsiteY332" fmla="*/ 639381 h 2484053"/>
              <a:gd name="connsiteX333" fmla="*/ 1700961 w 2538135"/>
              <a:gd name="connsiteY333" fmla="*/ 120933 h 2484053"/>
              <a:gd name="connsiteX334" fmla="*/ 1761473 w 2538135"/>
              <a:gd name="connsiteY334" fmla="*/ 60438 h 2484053"/>
              <a:gd name="connsiteX335" fmla="*/ 1821985 w 2538135"/>
              <a:gd name="connsiteY335" fmla="*/ -51 h 2484053"/>
              <a:gd name="connsiteX336" fmla="*/ 2340602 w 2538135"/>
              <a:gd name="connsiteY336" fmla="*/ 491953 h 2484053"/>
              <a:gd name="connsiteX337" fmla="*/ 2376083 w 2538135"/>
              <a:gd name="connsiteY337" fmla="*/ 134949 h 2484053"/>
              <a:gd name="connsiteX338" fmla="*/ 2538084 w 2538135"/>
              <a:gd name="connsiteY338" fmla="*/ 134919 h 2484053"/>
              <a:gd name="connsiteX339" fmla="*/ 2538084 w 2538135"/>
              <a:gd name="connsiteY339" fmla="*/ 836796 h 2484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Lst>
            <a:rect l="l" t="t" r="r" b="b"/>
            <a:pathLst>
              <a:path w="2538135" h="2484053">
                <a:moveTo>
                  <a:pt x="539" y="1576575"/>
                </a:moveTo>
                <a:cubicBezTo>
                  <a:pt x="161" y="1579299"/>
                  <a:pt x="-36" y="1582042"/>
                  <a:pt x="-51" y="1584785"/>
                </a:cubicBezTo>
                <a:lnTo>
                  <a:pt x="-51" y="1576575"/>
                </a:lnTo>
                <a:close/>
                <a:moveTo>
                  <a:pt x="674947" y="1800784"/>
                </a:moveTo>
                <a:lnTo>
                  <a:pt x="674947" y="1792573"/>
                </a:lnTo>
                <a:lnTo>
                  <a:pt x="674356" y="1792573"/>
                </a:lnTo>
                <a:cubicBezTo>
                  <a:pt x="674737" y="1795297"/>
                  <a:pt x="674937" y="1798040"/>
                  <a:pt x="674947" y="1800784"/>
                </a:cubicBezTo>
                <a:close/>
                <a:moveTo>
                  <a:pt x="337449" y="1944002"/>
                </a:moveTo>
                <a:cubicBezTo>
                  <a:pt x="151054" y="1944002"/>
                  <a:pt x="-50" y="1879879"/>
                  <a:pt x="-50" y="1800784"/>
                </a:cubicBezTo>
                <a:lnTo>
                  <a:pt x="-50" y="1916998"/>
                </a:lnTo>
                <a:lnTo>
                  <a:pt x="540" y="1916998"/>
                </a:lnTo>
                <a:cubicBezTo>
                  <a:pt x="10580" y="1992274"/>
                  <a:pt x="157556" y="2052006"/>
                  <a:pt x="337449" y="2052006"/>
                </a:cubicBezTo>
                <a:cubicBezTo>
                  <a:pt x="517346" y="2052006"/>
                  <a:pt x="664317" y="1992274"/>
                  <a:pt x="674356" y="1916998"/>
                </a:cubicBezTo>
                <a:lnTo>
                  <a:pt x="674947" y="1916998"/>
                </a:lnTo>
                <a:lnTo>
                  <a:pt x="674947" y="1800784"/>
                </a:lnTo>
                <a:cubicBezTo>
                  <a:pt x="674947" y="1879879"/>
                  <a:pt x="523842" y="1944002"/>
                  <a:pt x="337449" y="1944002"/>
                </a:cubicBezTo>
                <a:close/>
                <a:moveTo>
                  <a:pt x="-50" y="1360567"/>
                </a:moveTo>
                <a:lnTo>
                  <a:pt x="-50" y="1368787"/>
                </a:lnTo>
                <a:cubicBezTo>
                  <a:pt x="-36" y="1366044"/>
                  <a:pt x="161" y="1363291"/>
                  <a:pt x="540" y="1360567"/>
                </a:cubicBezTo>
                <a:close/>
                <a:moveTo>
                  <a:pt x="337449" y="1512005"/>
                </a:moveTo>
                <a:cubicBezTo>
                  <a:pt x="151054" y="1512005"/>
                  <a:pt x="-50" y="1447882"/>
                  <a:pt x="-50" y="1368787"/>
                </a:cubicBezTo>
                <a:lnTo>
                  <a:pt x="-50" y="1485001"/>
                </a:lnTo>
                <a:lnTo>
                  <a:pt x="540" y="1485001"/>
                </a:lnTo>
                <a:cubicBezTo>
                  <a:pt x="10580" y="1560277"/>
                  <a:pt x="157556" y="1620009"/>
                  <a:pt x="337449" y="1620009"/>
                </a:cubicBezTo>
                <a:cubicBezTo>
                  <a:pt x="517346" y="1620009"/>
                  <a:pt x="664317" y="1560277"/>
                  <a:pt x="674356" y="1485001"/>
                </a:cubicBezTo>
                <a:lnTo>
                  <a:pt x="674947" y="1485001"/>
                </a:lnTo>
                <a:lnTo>
                  <a:pt x="674947" y="1368787"/>
                </a:lnTo>
                <a:cubicBezTo>
                  <a:pt x="674947" y="1447882"/>
                  <a:pt x="523842" y="1512005"/>
                  <a:pt x="337449" y="1512005"/>
                </a:cubicBezTo>
                <a:close/>
                <a:moveTo>
                  <a:pt x="-50" y="1792573"/>
                </a:moveTo>
                <a:lnTo>
                  <a:pt x="-50" y="1800784"/>
                </a:lnTo>
                <a:cubicBezTo>
                  <a:pt x="-36" y="1798040"/>
                  <a:pt x="161" y="1795297"/>
                  <a:pt x="540" y="1792573"/>
                </a:cubicBezTo>
                <a:close/>
                <a:moveTo>
                  <a:pt x="337449" y="1728003"/>
                </a:moveTo>
                <a:cubicBezTo>
                  <a:pt x="151054" y="1728003"/>
                  <a:pt x="-50" y="1663881"/>
                  <a:pt x="-50" y="1584785"/>
                </a:cubicBezTo>
                <a:lnTo>
                  <a:pt x="-50" y="1701009"/>
                </a:lnTo>
                <a:lnTo>
                  <a:pt x="540" y="1701009"/>
                </a:lnTo>
                <a:cubicBezTo>
                  <a:pt x="10580" y="1776276"/>
                  <a:pt x="157556" y="1836007"/>
                  <a:pt x="337449" y="1836007"/>
                </a:cubicBezTo>
                <a:cubicBezTo>
                  <a:pt x="517346" y="1836007"/>
                  <a:pt x="664317" y="1776276"/>
                  <a:pt x="674356" y="1701009"/>
                </a:cubicBezTo>
                <a:lnTo>
                  <a:pt x="674947" y="1701009"/>
                </a:lnTo>
                <a:lnTo>
                  <a:pt x="674947" y="1584785"/>
                </a:lnTo>
                <a:cubicBezTo>
                  <a:pt x="674947" y="1663881"/>
                  <a:pt x="523842" y="1728003"/>
                  <a:pt x="337449" y="1728003"/>
                </a:cubicBezTo>
                <a:close/>
                <a:moveTo>
                  <a:pt x="674947" y="1584785"/>
                </a:moveTo>
                <a:lnTo>
                  <a:pt x="674947" y="1576575"/>
                </a:lnTo>
                <a:lnTo>
                  <a:pt x="674356" y="1576575"/>
                </a:lnTo>
                <a:cubicBezTo>
                  <a:pt x="674737" y="1579299"/>
                  <a:pt x="674937" y="1582042"/>
                  <a:pt x="674947" y="1584785"/>
                </a:cubicBezTo>
                <a:close/>
                <a:moveTo>
                  <a:pt x="-51" y="2224570"/>
                </a:moveTo>
                <a:lnTo>
                  <a:pt x="-51" y="2232790"/>
                </a:lnTo>
                <a:cubicBezTo>
                  <a:pt x="-36" y="2230037"/>
                  <a:pt x="161" y="2227294"/>
                  <a:pt x="539" y="2224570"/>
                </a:cubicBezTo>
                <a:close/>
                <a:moveTo>
                  <a:pt x="337448" y="324004"/>
                </a:moveTo>
                <a:cubicBezTo>
                  <a:pt x="517346" y="324004"/>
                  <a:pt x="664317" y="264275"/>
                  <a:pt x="674356" y="189005"/>
                </a:cubicBezTo>
                <a:lnTo>
                  <a:pt x="674356" y="189005"/>
                </a:lnTo>
                <a:cubicBezTo>
                  <a:pt x="664326" y="113736"/>
                  <a:pt x="517346" y="54004"/>
                  <a:pt x="337448" y="54004"/>
                </a:cubicBezTo>
                <a:cubicBezTo>
                  <a:pt x="157553" y="54004"/>
                  <a:pt x="10574" y="113736"/>
                  <a:pt x="539" y="189005"/>
                </a:cubicBezTo>
                <a:lnTo>
                  <a:pt x="539" y="189005"/>
                </a:lnTo>
                <a:cubicBezTo>
                  <a:pt x="10579" y="264275"/>
                  <a:pt x="157555" y="324004"/>
                  <a:pt x="337449" y="324004"/>
                </a:cubicBezTo>
                <a:close/>
                <a:moveTo>
                  <a:pt x="337448" y="2375998"/>
                </a:moveTo>
                <a:cubicBezTo>
                  <a:pt x="151053" y="2375998"/>
                  <a:pt x="-51" y="2311876"/>
                  <a:pt x="-51" y="2232790"/>
                </a:cubicBezTo>
                <a:lnTo>
                  <a:pt x="-51" y="2349005"/>
                </a:lnTo>
                <a:lnTo>
                  <a:pt x="539" y="2349005"/>
                </a:lnTo>
                <a:cubicBezTo>
                  <a:pt x="10576" y="2424271"/>
                  <a:pt x="157554" y="2484003"/>
                  <a:pt x="337449" y="2484003"/>
                </a:cubicBezTo>
                <a:cubicBezTo>
                  <a:pt x="517346" y="2484003"/>
                  <a:pt x="664326" y="2424271"/>
                  <a:pt x="674356" y="2349005"/>
                </a:cubicBezTo>
                <a:lnTo>
                  <a:pt x="674947" y="2349005"/>
                </a:lnTo>
                <a:lnTo>
                  <a:pt x="674947" y="2232790"/>
                </a:lnTo>
                <a:cubicBezTo>
                  <a:pt x="674947" y="2311876"/>
                  <a:pt x="523842" y="2375998"/>
                  <a:pt x="337449" y="2375998"/>
                </a:cubicBezTo>
                <a:close/>
                <a:moveTo>
                  <a:pt x="674947" y="2016782"/>
                </a:moveTo>
                <a:lnTo>
                  <a:pt x="674947" y="2008572"/>
                </a:lnTo>
                <a:lnTo>
                  <a:pt x="674356" y="2008572"/>
                </a:lnTo>
                <a:cubicBezTo>
                  <a:pt x="674737" y="2011296"/>
                  <a:pt x="674937" y="2014039"/>
                  <a:pt x="674947" y="2016782"/>
                </a:cubicBezTo>
                <a:close/>
                <a:moveTo>
                  <a:pt x="337448" y="2160000"/>
                </a:moveTo>
                <a:cubicBezTo>
                  <a:pt x="151053" y="2160000"/>
                  <a:pt x="-51" y="2095878"/>
                  <a:pt x="-51" y="2016782"/>
                </a:cubicBezTo>
                <a:lnTo>
                  <a:pt x="-51" y="2133006"/>
                </a:lnTo>
                <a:lnTo>
                  <a:pt x="539" y="2133006"/>
                </a:lnTo>
                <a:cubicBezTo>
                  <a:pt x="10579" y="2208273"/>
                  <a:pt x="157555" y="2268004"/>
                  <a:pt x="337448" y="2268004"/>
                </a:cubicBezTo>
                <a:cubicBezTo>
                  <a:pt x="517346" y="2268004"/>
                  <a:pt x="664317" y="2208273"/>
                  <a:pt x="674356" y="2133006"/>
                </a:cubicBezTo>
                <a:lnTo>
                  <a:pt x="674947" y="2133006"/>
                </a:lnTo>
                <a:lnTo>
                  <a:pt x="674947" y="2016782"/>
                </a:lnTo>
                <a:cubicBezTo>
                  <a:pt x="674947" y="2095878"/>
                  <a:pt x="523842" y="2160000"/>
                  <a:pt x="337449" y="2160000"/>
                </a:cubicBezTo>
                <a:close/>
                <a:moveTo>
                  <a:pt x="674947" y="2232790"/>
                </a:moveTo>
                <a:lnTo>
                  <a:pt x="674947" y="2224570"/>
                </a:lnTo>
                <a:lnTo>
                  <a:pt x="674356" y="2224570"/>
                </a:lnTo>
                <a:cubicBezTo>
                  <a:pt x="674737" y="2227294"/>
                  <a:pt x="674937" y="2230037"/>
                  <a:pt x="674947" y="2232790"/>
                </a:cubicBezTo>
                <a:close/>
                <a:moveTo>
                  <a:pt x="-51" y="2008572"/>
                </a:moveTo>
                <a:lnTo>
                  <a:pt x="-51" y="2016792"/>
                </a:lnTo>
                <a:cubicBezTo>
                  <a:pt x="-37" y="2014039"/>
                  <a:pt x="160" y="2011296"/>
                  <a:pt x="539" y="2008572"/>
                </a:cubicBezTo>
                <a:close/>
                <a:moveTo>
                  <a:pt x="-51" y="928570"/>
                </a:moveTo>
                <a:lnTo>
                  <a:pt x="-51" y="936790"/>
                </a:lnTo>
                <a:cubicBezTo>
                  <a:pt x="-37" y="934037"/>
                  <a:pt x="160" y="931294"/>
                  <a:pt x="539" y="928570"/>
                </a:cubicBezTo>
                <a:close/>
                <a:moveTo>
                  <a:pt x="674947" y="1368787"/>
                </a:moveTo>
                <a:lnTo>
                  <a:pt x="674947" y="1360567"/>
                </a:lnTo>
                <a:lnTo>
                  <a:pt x="674356" y="1360567"/>
                </a:lnTo>
                <a:cubicBezTo>
                  <a:pt x="674737" y="1363291"/>
                  <a:pt x="674937" y="1366044"/>
                  <a:pt x="674947" y="1368787"/>
                </a:cubicBezTo>
                <a:close/>
                <a:moveTo>
                  <a:pt x="674947" y="504784"/>
                </a:moveTo>
                <a:lnTo>
                  <a:pt x="674947" y="496573"/>
                </a:lnTo>
                <a:lnTo>
                  <a:pt x="674356" y="496573"/>
                </a:lnTo>
                <a:cubicBezTo>
                  <a:pt x="674737" y="499297"/>
                  <a:pt x="674937" y="502040"/>
                  <a:pt x="674947" y="504784"/>
                </a:cubicBezTo>
                <a:close/>
                <a:moveTo>
                  <a:pt x="674947" y="720791"/>
                </a:moveTo>
                <a:lnTo>
                  <a:pt x="674947" y="712571"/>
                </a:lnTo>
                <a:lnTo>
                  <a:pt x="674356" y="712571"/>
                </a:lnTo>
                <a:cubicBezTo>
                  <a:pt x="674737" y="715296"/>
                  <a:pt x="674937" y="718039"/>
                  <a:pt x="674947" y="720782"/>
                </a:cubicBezTo>
                <a:close/>
                <a:moveTo>
                  <a:pt x="-51" y="496573"/>
                </a:moveTo>
                <a:lnTo>
                  <a:pt x="-51" y="504784"/>
                </a:lnTo>
                <a:cubicBezTo>
                  <a:pt x="-36" y="502040"/>
                  <a:pt x="161" y="499297"/>
                  <a:pt x="539" y="496573"/>
                </a:cubicBezTo>
                <a:close/>
                <a:moveTo>
                  <a:pt x="674947" y="288788"/>
                </a:moveTo>
                <a:lnTo>
                  <a:pt x="674947" y="280572"/>
                </a:lnTo>
                <a:lnTo>
                  <a:pt x="674356" y="280572"/>
                </a:lnTo>
                <a:cubicBezTo>
                  <a:pt x="674737" y="283294"/>
                  <a:pt x="674937" y="286039"/>
                  <a:pt x="674947" y="288788"/>
                </a:cubicBezTo>
                <a:close/>
                <a:moveTo>
                  <a:pt x="-51" y="280572"/>
                </a:moveTo>
                <a:lnTo>
                  <a:pt x="-51" y="288788"/>
                </a:lnTo>
                <a:cubicBezTo>
                  <a:pt x="-36" y="286039"/>
                  <a:pt x="161" y="283294"/>
                  <a:pt x="539" y="280572"/>
                </a:cubicBezTo>
                <a:close/>
                <a:moveTo>
                  <a:pt x="337448" y="432004"/>
                </a:moveTo>
                <a:cubicBezTo>
                  <a:pt x="151053" y="432004"/>
                  <a:pt x="-51" y="367883"/>
                  <a:pt x="-51" y="288788"/>
                </a:cubicBezTo>
                <a:lnTo>
                  <a:pt x="-51" y="405003"/>
                </a:lnTo>
                <a:lnTo>
                  <a:pt x="539" y="405003"/>
                </a:lnTo>
                <a:cubicBezTo>
                  <a:pt x="10579" y="480276"/>
                  <a:pt x="157555" y="540007"/>
                  <a:pt x="337448" y="540007"/>
                </a:cubicBezTo>
                <a:cubicBezTo>
                  <a:pt x="517346" y="540007"/>
                  <a:pt x="664317" y="480276"/>
                  <a:pt x="674356" y="405003"/>
                </a:cubicBezTo>
                <a:lnTo>
                  <a:pt x="674947" y="405003"/>
                </a:lnTo>
                <a:lnTo>
                  <a:pt x="674947" y="288788"/>
                </a:lnTo>
                <a:cubicBezTo>
                  <a:pt x="674947" y="367883"/>
                  <a:pt x="523842" y="432004"/>
                  <a:pt x="337449" y="432004"/>
                </a:cubicBezTo>
                <a:close/>
                <a:moveTo>
                  <a:pt x="337448" y="648001"/>
                </a:moveTo>
                <a:cubicBezTo>
                  <a:pt x="151053" y="648001"/>
                  <a:pt x="-51" y="583879"/>
                  <a:pt x="-51" y="504784"/>
                </a:cubicBezTo>
                <a:lnTo>
                  <a:pt x="-51" y="621008"/>
                </a:lnTo>
                <a:lnTo>
                  <a:pt x="539" y="621008"/>
                </a:lnTo>
                <a:cubicBezTo>
                  <a:pt x="10579" y="696274"/>
                  <a:pt x="157555" y="756005"/>
                  <a:pt x="337448" y="756005"/>
                </a:cubicBezTo>
                <a:cubicBezTo>
                  <a:pt x="517346" y="756005"/>
                  <a:pt x="664317" y="696274"/>
                  <a:pt x="674356" y="621008"/>
                </a:cubicBezTo>
                <a:lnTo>
                  <a:pt x="674947" y="621008"/>
                </a:lnTo>
                <a:lnTo>
                  <a:pt x="674947" y="504784"/>
                </a:lnTo>
                <a:cubicBezTo>
                  <a:pt x="674947" y="583879"/>
                  <a:pt x="523842" y="648001"/>
                  <a:pt x="337449" y="648001"/>
                </a:cubicBezTo>
                <a:close/>
                <a:moveTo>
                  <a:pt x="674947" y="1152788"/>
                </a:moveTo>
                <a:lnTo>
                  <a:pt x="674947" y="1144568"/>
                </a:lnTo>
                <a:lnTo>
                  <a:pt x="674356" y="1144568"/>
                </a:lnTo>
                <a:cubicBezTo>
                  <a:pt x="674737" y="1147292"/>
                  <a:pt x="674937" y="1150036"/>
                  <a:pt x="674947" y="1152788"/>
                </a:cubicBezTo>
                <a:close/>
                <a:moveTo>
                  <a:pt x="337448" y="1296006"/>
                </a:moveTo>
                <a:cubicBezTo>
                  <a:pt x="151053" y="1296006"/>
                  <a:pt x="-51" y="1231884"/>
                  <a:pt x="-51" y="1152788"/>
                </a:cubicBezTo>
                <a:lnTo>
                  <a:pt x="-51" y="1269003"/>
                </a:lnTo>
                <a:lnTo>
                  <a:pt x="539" y="1269003"/>
                </a:lnTo>
                <a:cubicBezTo>
                  <a:pt x="10579" y="1344269"/>
                  <a:pt x="157555" y="1404001"/>
                  <a:pt x="337448" y="1404001"/>
                </a:cubicBezTo>
                <a:cubicBezTo>
                  <a:pt x="517346" y="1404001"/>
                  <a:pt x="664317" y="1344269"/>
                  <a:pt x="674356" y="1269003"/>
                </a:cubicBezTo>
                <a:lnTo>
                  <a:pt x="674947" y="1269003"/>
                </a:lnTo>
                <a:lnTo>
                  <a:pt x="674947" y="1152788"/>
                </a:lnTo>
                <a:cubicBezTo>
                  <a:pt x="674947" y="1231884"/>
                  <a:pt x="523842" y="1296006"/>
                  <a:pt x="337449" y="1296006"/>
                </a:cubicBezTo>
                <a:close/>
                <a:moveTo>
                  <a:pt x="-51" y="1144568"/>
                </a:moveTo>
                <a:lnTo>
                  <a:pt x="-51" y="1152788"/>
                </a:lnTo>
                <a:cubicBezTo>
                  <a:pt x="-36" y="1150036"/>
                  <a:pt x="161" y="1147292"/>
                  <a:pt x="539" y="1144568"/>
                </a:cubicBezTo>
                <a:close/>
                <a:moveTo>
                  <a:pt x="337448" y="864000"/>
                </a:moveTo>
                <a:cubicBezTo>
                  <a:pt x="151053" y="864000"/>
                  <a:pt x="-51" y="799878"/>
                  <a:pt x="-51" y="720782"/>
                </a:cubicBezTo>
                <a:lnTo>
                  <a:pt x="-51" y="837006"/>
                </a:lnTo>
                <a:lnTo>
                  <a:pt x="539" y="837006"/>
                </a:lnTo>
                <a:cubicBezTo>
                  <a:pt x="10579" y="912272"/>
                  <a:pt x="157555" y="972004"/>
                  <a:pt x="337448" y="972004"/>
                </a:cubicBezTo>
                <a:cubicBezTo>
                  <a:pt x="517346" y="972004"/>
                  <a:pt x="664317" y="912272"/>
                  <a:pt x="674356" y="837006"/>
                </a:cubicBezTo>
                <a:lnTo>
                  <a:pt x="674947" y="837006"/>
                </a:lnTo>
                <a:lnTo>
                  <a:pt x="674947" y="720782"/>
                </a:lnTo>
                <a:cubicBezTo>
                  <a:pt x="674947" y="799878"/>
                  <a:pt x="523842" y="864000"/>
                  <a:pt x="337449" y="864000"/>
                </a:cubicBezTo>
                <a:close/>
                <a:moveTo>
                  <a:pt x="-51" y="712571"/>
                </a:moveTo>
                <a:lnTo>
                  <a:pt x="-51" y="720782"/>
                </a:lnTo>
                <a:cubicBezTo>
                  <a:pt x="-36" y="718039"/>
                  <a:pt x="161" y="715296"/>
                  <a:pt x="539" y="712571"/>
                </a:cubicBezTo>
                <a:close/>
                <a:moveTo>
                  <a:pt x="337448" y="1079998"/>
                </a:moveTo>
                <a:cubicBezTo>
                  <a:pt x="151053" y="1079998"/>
                  <a:pt x="-51" y="1015876"/>
                  <a:pt x="-51" y="936790"/>
                </a:cubicBezTo>
                <a:lnTo>
                  <a:pt x="-51" y="1053004"/>
                </a:lnTo>
                <a:lnTo>
                  <a:pt x="539" y="1053004"/>
                </a:lnTo>
                <a:cubicBezTo>
                  <a:pt x="10579" y="1128271"/>
                  <a:pt x="157555" y="1188002"/>
                  <a:pt x="337448" y="1188002"/>
                </a:cubicBezTo>
                <a:cubicBezTo>
                  <a:pt x="517346" y="1188002"/>
                  <a:pt x="664317" y="1128271"/>
                  <a:pt x="674356" y="1053004"/>
                </a:cubicBezTo>
                <a:lnTo>
                  <a:pt x="674947" y="1053004"/>
                </a:lnTo>
                <a:lnTo>
                  <a:pt x="674947" y="936790"/>
                </a:lnTo>
                <a:cubicBezTo>
                  <a:pt x="674947" y="1015876"/>
                  <a:pt x="523842" y="1079998"/>
                  <a:pt x="337449" y="1079998"/>
                </a:cubicBezTo>
                <a:close/>
                <a:moveTo>
                  <a:pt x="674947" y="936790"/>
                </a:moveTo>
                <a:lnTo>
                  <a:pt x="674947" y="928570"/>
                </a:lnTo>
                <a:lnTo>
                  <a:pt x="674356" y="928570"/>
                </a:lnTo>
                <a:cubicBezTo>
                  <a:pt x="674737" y="931294"/>
                  <a:pt x="674937" y="934037"/>
                  <a:pt x="674947" y="936790"/>
                </a:cubicBezTo>
                <a:close/>
                <a:moveTo>
                  <a:pt x="1255448" y="2160000"/>
                </a:moveTo>
                <a:cubicBezTo>
                  <a:pt x="1069053" y="2160000"/>
                  <a:pt x="917948" y="2095878"/>
                  <a:pt x="917948" y="2016792"/>
                </a:cubicBezTo>
                <a:lnTo>
                  <a:pt x="917948" y="2133006"/>
                </a:lnTo>
                <a:lnTo>
                  <a:pt x="918539" y="2133006"/>
                </a:lnTo>
                <a:cubicBezTo>
                  <a:pt x="928578" y="2208273"/>
                  <a:pt x="1075559" y="2268004"/>
                  <a:pt x="1255448" y="2268004"/>
                </a:cubicBezTo>
                <a:cubicBezTo>
                  <a:pt x="1435346" y="2268004"/>
                  <a:pt x="1582317" y="2208273"/>
                  <a:pt x="1592357" y="2133006"/>
                </a:cubicBezTo>
                <a:lnTo>
                  <a:pt x="1592947" y="2133006"/>
                </a:lnTo>
                <a:lnTo>
                  <a:pt x="1592947" y="2016792"/>
                </a:lnTo>
                <a:cubicBezTo>
                  <a:pt x="1592947" y="2095878"/>
                  <a:pt x="1441843" y="2160000"/>
                  <a:pt x="1255448" y="2160000"/>
                </a:cubicBezTo>
                <a:close/>
                <a:moveTo>
                  <a:pt x="1592947" y="2016792"/>
                </a:moveTo>
                <a:lnTo>
                  <a:pt x="1592947" y="2008572"/>
                </a:lnTo>
                <a:lnTo>
                  <a:pt x="1592357" y="2008572"/>
                </a:lnTo>
                <a:cubicBezTo>
                  <a:pt x="1592738" y="2011296"/>
                  <a:pt x="1592938" y="2014039"/>
                  <a:pt x="1592947" y="2016792"/>
                </a:cubicBezTo>
                <a:close/>
                <a:moveTo>
                  <a:pt x="1592947" y="1800784"/>
                </a:moveTo>
                <a:lnTo>
                  <a:pt x="1592947" y="1792573"/>
                </a:lnTo>
                <a:lnTo>
                  <a:pt x="1592357" y="1792573"/>
                </a:lnTo>
                <a:cubicBezTo>
                  <a:pt x="1592738" y="1795288"/>
                  <a:pt x="1592938" y="1798040"/>
                  <a:pt x="1592947" y="1800784"/>
                </a:cubicBezTo>
                <a:close/>
                <a:moveTo>
                  <a:pt x="1255448" y="1944002"/>
                </a:moveTo>
                <a:cubicBezTo>
                  <a:pt x="1069053" y="1944002"/>
                  <a:pt x="917948" y="1879879"/>
                  <a:pt x="917948" y="1800784"/>
                </a:cubicBezTo>
                <a:lnTo>
                  <a:pt x="917948" y="1917008"/>
                </a:lnTo>
                <a:lnTo>
                  <a:pt x="918539" y="1917008"/>
                </a:lnTo>
                <a:cubicBezTo>
                  <a:pt x="928578" y="1992274"/>
                  <a:pt x="1075559" y="2052006"/>
                  <a:pt x="1255448" y="2052006"/>
                </a:cubicBezTo>
                <a:cubicBezTo>
                  <a:pt x="1435346" y="2052006"/>
                  <a:pt x="1582317" y="1992274"/>
                  <a:pt x="1592357" y="1917008"/>
                </a:cubicBezTo>
                <a:lnTo>
                  <a:pt x="1592947" y="1917008"/>
                </a:lnTo>
                <a:lnTo>
                  <a:pt x="1592947" y="1800784"/>
                </a:lnTo>
                <a:cubicBezTo>
                  <a:pt x="1592947" y="1879879"/>
                  <a:pt x="1441843" y="1944002"/>
                  <a:pt x="1255448" y="1944002"/>
                </a:cubicBezTo>
                <a:close/>
                <a:moveTo>
                  <a:pt x="1592947" y="2232781"/>
                </a:moveTo>
                <a:lnTo>
                  <a:pt x="1592947" y="2224570"/>
                </a:lnTo>
                <a:lnTo>
                  <a:pt x="1592357" y="2224570"/>
                </a:lnTo>
                <a:cubicBezTo>
                  <a:pt x="1592738" y="2227294"/>
                  <a:pt x="1592938" y="2230037"/>
                  <a:pt x="1592947" y="2232790"/>
                </a:cubicBezTo>
                <a:close/>
                <a:moveTo>
                  <a:pt x="1255448" y="2376008"/>
                </a:moveTo>
                <a:cubicBezTo>
                  <a:pt x="1069053" y="2376008"/>
                  <a:pt x="917948" y="2311886"/>
                  <a:pt x="917948" y="2232781"/>
                </a:cubicBezTo>
                <a:lnTo>
                  <a:pt x="917948" y="2332574"/>
                </a:lnTo>
                <a:lnTo>
                  <a:pt x="918539" y="2332574"/>
                </a:lnTo>
                <a:cubicBezTo>
                  <a:pt x="918158" y="2335298"/>
                  <a:pt x="917968" y="2338041"/>
                  <a:pt x="917948" y="2340785"/>
                </a:cubicBezTo>
                <a:cubicBezTo>
                  <a:pt x="917948" y="2419890"/>
                  <a:pt x="1069053" y="2484003"/>
                  <a:pt x="1255448" y="2484003"/>
                </a:cubicBezTo>
                <a:cubicBezTo>
                  <a:pt x="1441843" y="2484003"/>
                  <a:pt x="1592947" y="2419890"/>
                  <a:pt x="1592947" y="2340785"/>
                </a:cubicBezTo>
                <a:cubicBezTo>
                  <a:pt x="1592938" y="2338041"/>
                  <a:pt x="1592738" y="2335298"/>
                  <a:pt x="1592357" y="2332574"/>
                </a:cubicBezTo>
                <a:lnTo>
                  <a:pt x="1592947" y="2332574"/>
                </a:lnTo>
                <a:lnTo>
                  <a:pt x="1592947" y="2232781"/>
                </a:lnTo>
                <a:cubicBezTo>
                  <a:pt x="1592947" y="2311886"/>
                  <a:pt x="1441843" y="2376008"/>
                  <a:pt x="1255448" y="2376008"/>
                </a:cubicBezTo>
                <a:close/>
                <a:moveTo>
                  <a:pt x="917948" y="2224570"/>
                </a:moveTo>
                <a:lnTo>
                  <a:pt x="917948" y="2232781"/>
                </a:lnTo>
                <a:cubicBezTo>
                  <a:pt x="917968" y="2230037"/>
                  <a:pt x="918158" y="2227294"/>
                  <a:pt x="918539" y="2224570"/>
                </a:cubicBezTo>
                <a:close/>
                <a:moveTo>
                  <a:pt x="917948" y="2008572"/>
                </a:moveTo>
                <a:lnTo>
                  <a:pt x="917948" y="2016792"/>
                </a:lnTo>
                <a:cubicBezTo>
                  <a:pt x="917968" y="2014039"/>
                  <a:pt x="918158" y="2011296"/>
                  <a:pt x="918539" y="2008572"/>
                </a:cubicBezTo>
                <a:close/>
                <a:moveTo>
                  <a:pt x="917948" y="1576565"/>
                </a:moveTo>
                <a:lnTo>
                  <a:pt x="917948" y="1584785"/>
                </a:lnTo>
                <a:cubicBezTo>
                  <a:pt x="917968" y="1582042"/>
                  <a:pt x="918158" y="1579289"/>
                  <a:pt x="918539" y="1576565"/>
                </a:cubicBezTo>
                <a:close/>
                <a:moveTo>
                  <a:pt x="917948" y="1792573"/>
                </a:moveTo>
                <a:lnTo>
                  <a:pt x="917948" y="1800784"/>
                </a:lnTo>
                <a:cubicBezTo>
                  <a:pt x="917968" y="1798040"/>
                  <a:pt x="918158" y="1795288"/>
                  <a:pt x="918539" y="1792573"/>
                </a:cubicBezTo>
                <a:close/>
                <a:moveTo>
                  <a:pt x="1255448" y="1296006"/>
                </a:moveTo>
                <a:cubicBezTo>
                  <a:pt x="1069053" y="1296006"/>
                  <a:pt x="917948" y="1231884"/>
                  <a:pt x="917948" y="1152788"/>
                </a:cubicBezTo>
                <a:lnTo>
                  <a:pt x="917948" y="1269003"/>
                </a:lnTo>
                <a:lnTo>
                  <a:pt x="918539" y="1269003"/>
                </a:lnTo>
                <a:cubicBezTo>
                  <a:pt x="928578" y="1344279"/>
                  <a:pt x="1075559" y="1404001"/>
                  <a:pt x="1255448" y="1404001"/>
                </a:cubicBezTo>
                <a:cubicBezTo>
                  <a:pt x="1435346" y="1404001"/>
                  <a:pt x="1582317" y="1344279"/>
                  <a:pt x="1592357" y="1269003"/>
                </a:cubicBezTo>
                <a:lnTo>
                  <a:pt x="1592947" y="1269003"/>
                </a:lnTo>
                <a:lnTo>
                  <a:pt x="1592947" y="1152788"/>
                </a:lnTo>
                <a:cubicBezTo>
                  <a:pt x="1592947" y="1231884"/>
                  <a:pt x="1441843" y="1296006"/>
                  <a:pt x="1255448" y="1296006"/>
                </a:cubicBezTo>
                <a:close/>
                <a:moveTo>
                  <a:pt x="1592947" y="1152788"/>
                </a:moveTo>
                <a:lnTo>
                  <a:pt x="1592947" y="1144568"/>
                </a:lnTo>
                <a:lnTo>
                  <a:pt x="1592357" y="1144568"/>
                </a:lnTo>
                <a:cubicBezTo>
                  <a:pt x="1592738" y="1147292"/>
                  <a:pt x="1592938" y="1150036"/>
                  <a:pt x="1592947" y="1152788"/>
                </a:cubicBezTo>
                <a:close/>
                <a:moveTo>
                  <a:pt x="917948" y="1144568"/>
                </a:moveTo>
                <a:lnTo>
                  <a:pt x="917948" y="1152788"/>
                </a:lnTo>
                <a:cubicBezTo>
                  <a:pt x="917968" y="1150036"/>
                  <a:pt x="918158" y="1147292"/>
                  <a:pt x="918539" y="1144568"/>
                </a:cubicBezTo>
                <a:close/>
                <a:moveTo>
                  <a:pt x="1592357" y="1053004"/>
                </a:moveTo>
                <a:cubicBezTo>
                  <a:pt x="1582317" y="977738"/>
                  <a:pt x="1435346" y="918007"/>
                  <a:pt x="1255448" y="918007"/>
                </a:cubicBezTo>
                <a:cubicBezTo>
                  <a:pt x="1075559" y="918007"/>
                  <a:pt x="928578" y="977738"/>
                  <a:pt x="918539" y="1053004"/>
                </a:cubicBezTo>
                <a:lnTo>
                  <a:pt x="917948" y="1053004"/>
                </a:lnTo>
                <a:lnTo>
                  <a:pt x="917948" y="1053004"/>
                </a:lnTo>
                <a:lnTo>
                  <a:pt x="918539" y="1053004"/>
                </a:lnTo>
                <a:cubicBezTo>
                  <a:pt x="928578" y="1128281"/>
                  <a:pt x="1075559" y="1188002"/>
                  <a:pt x="1255448" y="1188002"/>
                </a:cubicBezTo>
                <a:cubicBezTo>
                  <a:pt x="1435346" y="1188002"/>
                  <a:pt x="1582317" y="1128281"/>
                  <a:pt x="1592357" y="1053004"/>
                </a:cubicBezTo>
                <a:lnTo>
                  <a:pt x="1592947" y="1053004"/>
                </a:lnTo>
                <a:lnTo>
                  <a:pt x="1592947" y="1053004"/>
                </a:lnTo>
                <a:close/>
                <a:moveTo>
                  <a:pt x="1255448" y="1512005"/>
                </a:moveTo>
                <a:cubicBezTo>
                  <a:pt x="1069053" y="1512005"/>
                  <a:pt x="917948" y="1447882"/>
                  <a:pt x="917948" y="1368787"/>
                </a:cubicBezTo>
                <a:lnTo>
                  <a:pt x="917948" y="1485001"/>
                </a:lnTo>
                <a:lnTo>
                  <a:pt x="918539" y="1485001"/>
                </a:lnTo>
                <a:cubicBezTo>
                  <a:pt x="928578" y="1560277"/>
                  <a:pt x="1075559" y="1620009"/>
                  <a:pt x="1255448" y="1620009"/>
                </a:cubicBezTo>
                <a:cubicBezTo>
                  <a:pt x="1435346" y="1620009"/>
                  <a:pt x="1582317" y="1560277"/>
                  <a:pt x="1592357" y="1485001"/>
                </a:cubicBezTo>
                <a:lnTo>
                  <a:pt x="1592947" y="1485001"/>
                </a:lnTo>
                <a:lnTo>
                  <a:pt x="1592947" y="1368787"/>
                </a:lnTo>
                <a:cubicBezTo>
                  <a:pt x="1592947" y="1447882"/>
                  <a:pt x="1441843" y="1512005"/>
                  <a:pt x="1255448" y="1512005"/>
                </a:cubicBezTo>
                <a:close/>
                <a:moveTo>
                  <a:pt x="1592947" y="1584785"/>
                </a:moveTo>
                <a:lnTo>
                  <a:pt x="1592947" y="1576565"/>
                </a:lnTo>
                <a:lnTo>
                  <a:pt x="1592357" y="1576565"/>
                </a:lnTo>
                <a:cubicBezTo>
                  <a:pt x="1592738" y="1579289"/>
                  <a:pt x="1592938" y="1582042"/>
                  <a:pt x="1592947" y="1584785"/>
                </a:cubicBezTo>
                <a:close/>
                <a:moveTo>
                  <a:pt x="917948" y="1360567"/>
                </a:moveTo>
                <a:lnTo>
                  <a:pt x="917948" y="1368787"/>
                </a:lnTo>
                <a:cubicBezTo>
                  <a:pt x="917968" y="1366034"/>
                  <a:pt x="918158" y="1363291"/>
                  <a:pt x="918539" y="1360567"/>
                </a:cubicBezTo>
                <a:close/>
                <a:moveTo>
                  <a:pt x="1592947" y="1368787"/>
                </a:moveTo>
                <a:lnTo>
                  <a:pt x="1592947" y="1360567"/>
                </a:lnTo>
                <a:lnTo>
                  <a:pt x="1592357" y="1360567"/>
                </a:lnTo>
                <a:cubicBezTo>
                  <a:pt x="1592738" y="1363291"/>
                  <a:pt x="1592938" y="1366034"/>
                  <a:pt x="1592947" y="1368787"/>
                </a:cubicBezTo>
                <a:close/>
                <a:moveTo>
                  <a:pt x="1255448" y="1728003"/>
                </a:moveTo>
                <a:cubicBezTo>
                  <a:pt x="1069053" y="1728003"/>
                  <a:pt x="917948" y="1663881"/>
                  <a:pt x="917948" y="1584785"/>
                </a:cubicBezTo>
                <a:lnTo>
                  <a:pt x="917948" y="1701000"/>
                </a:lnTo>
                <a:lnTo>
                  <a:pt x="918539" y="1701000"/>
                </a:lnTo>
                <a:cubicBezTo>
                  <a:pt x="928578" y="1776276"/>
                  <a:pt x="1075559" y="1835998"/>
                  <a:pt x="1255448" y="1835998"/>
                </a:cubicBezTo>
                <a:cubicBezTo>
                  <a:pt x="1435346" y="1835998"/>
                  <a:pt x="1582317" y="1776276"/>
                  <a:pt x="1592357" y="1701000"/>
                </a:cubicBezTo>
                <a:lnTo>
                  <a:pt x="1592947" y="1701000"/>
                </a:lnTo>
                <a:lnTo>
                  <a:pt x="1592947" y="1584785"/>
                </a:lnTo>
                <a:cubicBezTo>
                  <a:pt x="1592947" y="1663881"/>
                  <a:pt x="1441843" y="1728003"/>
                  <a:pt x="1255448" y="1728003"/>
                </a:cubicBezTo>
                <a:close/>
                <a:moveTo>
                  <a:pt x="2537951" y="2232781"/>
                </a:moveTo>
                <a:lnTo>
                  <a:pt x="2537951" y="2224570"/>
                </a:lnTo>
                <a:lnTo>
                  <a:pt x="2537361" y="2224570"/>
                </a:lnTo>
                <a:cubicBezTo>
                  <a:pt x="2537742" y="2227294"/>
                  <a:pt x="2537932" y="2230037"/>
                  <a:pt x="2537951" y="2232781"/>
                </a:cubicBezTo>
                <a:close/>
                <a:moveTo>
                  <a:pt x="2200452" y="2376008"/>
                </a:moveTo>
                <a:cubicBezTo>
                  <a:pt x="2014057" y="2376008"/>
                  <a:pt x="1862952" y="2311886"/>
                  <a:pt x="1862952" y="2232781"/>
                </a:cubicBezTo>
                <a:lnTo>
                  <a:pt x="1862952" y="2349005"/>
                </a:lnTo>
                <a:lnTo>
                  <a:pt x="1863543" y="2349005"/>
                </a:lnTo>
                <a:cubicBezTo>
                  <a:pt x="1873573" y="2424271"/>
                  <a:pt x="2020553" y="2484003"/>
                  <a:pt x="2200452" y="2484003"/>
                </a:cubicBezTo>
                <a:cubicBezTo>
                  <a:pt x="2380341" y="2484003"/>
                  <a:pt x="2527321" y="2424271"/>
                  <a:pt x="2537361" y="2349005"/>
                </a:cubicBezTo>
                <a:lnTo>
                  <a:pt x="2537951" y="2349005"/>
                </a:lnTo>
                <a:lnTo>
                  <a:pt x="2537951" y="2232781"/>
                </a:lnTo>
                <a:cubicBezTo>
                  <a:pt x="2537951" y="2311886"/>
                  <a:pt x="2386846" y="2376008"/>
                  <a:pt x="2200452" y="2376008"/>
                </a:cubicBezTo>
                <a:close/>
                <a:moveTo>
                  <a:pt x="2200452" y="1835998"/>
                </a:moveTo>
                <a:cubicBezTo>
                  <a:pt x="2380341" y="1835998"/>
                  <a:pt x="2527321" y="1776276"/>
                  <a:pt x="2537361" y="1701000"/>
                </a:cubicBezTo>
                <a:lnTo>
                  <a:pt x="2537361" y="1701000"/>
                </a:lnTo>
                <a:cubicBezTo>
                  <a:pt x="2527321" y="1625733"/>
                  <a:pt x="2380341" y="1566002"/>
                  <a:pt x="2200452" y="1566002"/>
                </a:cubicBezTo>
                <a:cubicBezTo>
                  <a:pt x="2020553" y="1566002"/>
                  <a:pt x="1873573" y="1625733"/>
                  <a:pt x="1863543" y="1701000"/>
                </a:cubicBezTo>
                <a:lnTo>
                  <a:pt x="1863543" y="1701000"/>
                </a:lnTo>
                <a:cubicBezTo>
                  <a:pt x="1873582" y="1776276"/>
                  <a:pt x="2020553" y="1835998"/>
                  <a:pt x="2200452" y="1835998"/>
                </a:cubicBezTo>
                <a:close/>
                <a:moveTo>
                  <a:pt x="1862952" y="2224570"/>
                </a:moveTo>
                <a:lnTo>
                  <a:pt x="1862952" y="2232781"/>
                </a:lnTo>
                <a:cubicBezTo>
                  <a:pt x="1862962" y="2230037"/>
                  <a:pt x="1863162" y="2227294"/>
                  <a:pt x="1863543" y="2224570"/>
                </a:cubicBezTo>
                <a:close/>
                <a:moveTo>
                  <a:pt x="1862952" y="2008572"/>
                </a:moveTo>
                <a:lnTo>
                  <a:pt x="1862952" y="2016792"/>
                </a:lnTo>
                <a:cubicBezTo>
                  <a:pt x="1862962" y="2014039"/>
                  <a:pt x="1863162" y="2011296"/>
                  <a:pt x="1863543" y="2008572"/>
                </a:cubicBezTo>
                <a:close/>
                <a:moveTo>
                  <a:pt x="2537951" y="1800784"/>
                </a:moveTo>
                <a:lnTo>
                  <a:pt x="2537951" y="1792573"/>
                </a:lnTo>
                <a:lnTo>
                  <a:pt x="2537361" y="1792573"/>
                </a:lnTo>
                <a:cubicBezTo>
                  <a:pt x="2537742" y="1795288"/>
                  <a:pt x="2537932" y="1798040"/>
                  <a:pt x="2537951" y="1800784"/>
                </a:cubicBezTo>
                <a:close/>
                <a:moveTo>
                  <a:pt x="1862952" y="1792573"/>
                </a:moveTo>
                <a:lnTo>
                  <a:pt x="1862952" y="1800784"/>
                </a:lnTo>
                <a:cubicBezTo>
                  <a:pt x="1862962" y="1798040"/>
                  <a:pt x="1863162" y="1795288"/>
                  <a:pt x="1863543" y="1792573"/>
                </a:cubicBezTo>
                <a:close/>
                <a:moveTo>
                  <a:pt x="2200452" y="1944002"/>
                </a:moveTo>
                <a:cubicBezTo>
                  <a:pt x="2014057" y="1944002"/>
                  <a:pt x="1862952" y="1879879"/>
                  <a:pt x="1862952" y="1800784"/>
                </a:cubicBezTo>
                <a:lnTo>
                  <a:pt x="1862952" y="1917008"/>
                </a:lnTo>
                <a:lnTo>
                  <a:pt x="1863543" y="1917008"/>
                </a:lnTo>
                <a:cubicBezTo>
                  <a:pt x="1873582" y="1992274"/>
                  <a:pt x="2020553" y="2052006"/>
                  <a:pt x="2200452" y="2052006"/>
                </a:cubicBezTo>
                <a:cubicBezTo>
                  <a:pt x="2380341" y="2052006"/>
                  <a:pt x="2527321" y="1992274"/>
                  <a:pt x="2537361" y="1917008"/>
                </a:cubicBezTo>
                <a:lnTo>
                  <a:pt x="2537951" y="1917008"/>
                </a:lnTo>
                <a:lnTo>
                  <a:pt x="2537951" y="1800784"/>
                </a:lnTo>
                <a:cubicBezTo>
                  <a:pt x="2537951" y="1879879"/>
                  <a:pt x="2386846" y="1944002"/>
                  <a:pt x="2200452" y="1944002"/>
                </a:cubicBezTo>
                <a:close/>
                <a:moveTo>
                  <a:pt x="2200452" y="2160000"/>
                </a:moveTo>
                <a:cubicBezTo>
                  <a:pt x="2014057" y="2160000"/>
                  <a:pt x="1862952" y="2095878"/>
                  <a:pt x="1862952" y="2016792"/>
                </a:cubicBezTo>
                <a:lnTo>
                  <a:pt x="1862952" y="2133006"/>
                </a:lnTo>
                <a:lnTo>
                  <a:pt x="1863543" y="2133006"/>
                </a:lnTo>
                <a:cubicBezTo>
                  <a:pt x="1873582" y="2208273"/>
                  <a:pt x="2020553" y="2268004"/>
                  <a:pt x="2200452" y="2268004"/>
                </a:cubicBezTo>
                <a:cubicBezTo>
                  <a:pt x="2380341" y="2268004"/>
                  <a:pt x="2527321" y="2208273"/>
                  <a:pt x="2537361" y="2133006"/>
                </a:cubicBezTo>
                <a:lnTo>
                  <a:pt x="2537951" y="2133006"/>
                </a:lnTo>
                <a:lnTo>
                  <a:pt x="2537951" y="2016792"/>
                </a:lnTo>
                <a:cubicBezTo>
                  <a:pt x="2537951" y="2095878"/>
                  <a:pt x="2386846" y="2160000"/>
                  <a:pt x="2200452" y="2160000"/>
                </a:cubicBezTo>
                <a:close/>
                <a:moveTo>
                  <a:pt x="2537951" y="2016792"/>
                </a:moveTo>
                <a:lnTo>
                  <a:pt x="2537951" y="2008572"/>
                </a:lnTo>
                <a:lnTo>
                  <a:pt x="2537361" y="2008572"/>
                </a:lnTo>
                <a:cubicBezTo>
                  <a:pt x="2537742" y="2011296"/>
                  <a:pt x="2537932" y="2014039"/>
                  <a:pt x="2537951" y="2016792"/>
                </a:cubicBezTo>
                <a:close/>
                <a:moveTo>
                  <a:pt x="1836044" y="836796"/>
                </a:moveTo>
                <a:lnTo>
                  <a:pt x="1836082" y="674948"/>
                </a:lnTo>
                <a:lnTo>
                  <a:pt x="2193127" y="639381"/>
                </a:lnTo>
                <a:lnTo>
                  <a:pt x="1700961" y="120933"/>
                </a:lnTo>
                <a:lnTo>
                  <a:pt x="1761473" y="60438"/>
                </a:lnTo>
                <a:lnTo>
                  <a:pt x="1821985" y="-51"/>
                </a:lnTo>
                <a:lnTo>
                  <a:pt x="2340602" y="491953"/>
                </a:lnTo>
                <a:lnTo>
                  <a:pt x="2376083" y="134949"/>
                </a:lnTo>
                <a:lnTo>
                  <a:pt x="2538084" y="134919"/>
                </a:lnTo>
                <a:lnTo>
                  <a:pt x="2538084" y="836796"/>
                </a:lnTo>
              </a:path>
            </a:pathLst>
          </a:custGeom>
          <a:solidFill>
            <a:srgbClr val="FFFFFF"/>
          </a:solidFill>
          <a:ln w="9525" cap="flat">
            <a:noFill/>
            <a:prstDash val="solid"/>
            <a:miter/>
          </a:ln>
        </p:spPr>
        <p:txBody>
          <a:bodyPr rtlCol="0" anchor="ctr"/>
          <a:lstStyle/>
          <a:p>
            <a:endParaRPr lang="en-US"/>
          </a:p>
        </p:txBody>
      </p:sp>
      <p:cxnSp>
        <p:nvCxnSpPr>
          <p:cNvPr id="52" name="Gerader Verbinder 51">
            <a:extLst>
              <a:ext uri="{FF2B5EF4-FFF2-40B4-BE49-F238E27FC236}">
                <a16:creationId xmlns:a16="http://schemas.microsoft.com/office/drawing/2014/main" id="{8119A1CD-1BEC-4954-8C53-4E54C4CE7D86}"/>
              </a:ext>
            </a:extLst>
          </p:cNvPr>
          <p:cNvCxnSpPr>
            <a:cxnSpLocks/>
          </p:cNvCxnSpPr>
          <p:nvPr/>
        </p:nvCxnSpPr>
        <p:spPr>
          <a:xfrm>
            <a:off x="2331697" y="3133882"/>
            <a:ext cx="1776533" cy="0"/>
          </a:xfrm>
          <a:prstGeom prst="line">
            <a:avLst/>
          </a:prstGeom>
          <a:ln w="38100">
            <a:solidFill>
              <a:schemeClr val="accent3"/>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E7537BA8-C30E-405E-B5D3-8E6ADBB35B07}"/>
              </a:ext>
            </a:extLst>
          </p:cNvPr>
          <p:cNvCxnSpPr>
            <a:cxnSpLocks/>
          </p:cNvCxnSpPr>
          <p:nvPr/>
        </p:nvCxnSpPr>
        <p:spPr>
          <a:xfrm>
            <a:off x="6172763" y="3133882"/>
            <a:ext cx="1776533" cy="0"/>
          </a:xfrm>
          <a:prstGeom prst="line">
            <a:avLst/>
          </a:prstGeom>
          <a:ln w="38100">
            <a:solidFill>
              <a:schemeClr val="accent3"/>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A3BAB4D4-ED88-49BA-8803-9BA342E0E2F8}"/>
              </a:ext>
            </a:extLst>
          </p:cNvPr>
          <p:cNvCxnSpPr>
            <a:cxnSpLocks/>
          </p:cNvCxnSpPr>
          <p:nvPr/>
        </p:nvCxnSpPr>
        <p:spPr>
          <a:xfrm>
            <a:off x="10013828" y="3133882"/>
            <a:ext cx="1776533" cy="0"/>
          </a:xfrm>
          <a:prstGeom prst="line">
            <a:avLst/>
          </a:prstGeom>
          <a:ln w="38100">
            <a:solidFill>
              <a:schemeClr val="accent3"/>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57" name="Grafik 55">
            <a:extLst>
              <a:ext uri="{FF2B5EF4-FFF2-40B4-BE49-F238E27FC236}">
                <a16:creationId xmlns:a16="http://schemas.microsoft.com/office/drawing/2014/main" id="{E2E3CF29-CFAD-4A11-ADBF-8E03810EDF21}"/>
              </a:ext>
            </a:extLst>
          </p:cNvPr>
          <p:cNvSpPr/>
          <p:nvPr/>
        </p:nvSpPr>
        <p:spPr>
          <a:xfrm>
            <a:off x="894877" y="2020735"/>
            <a:ext cx="809107" cy="785991"/>
          </a:xfrm>
          <a:custGeom>
            <a:avLst/>
            <a:gdLst>
              <a:gd name="connsiteX0" fmla="*/ 1079921 w 1889997"/>
              <a:gd name="connsiteY0" fmla="*/ 1237836 h 1835999"/>
              <a:gd name="connsiteX1" fmla="*/ 1511918 w 1889997"/>
              <a:gd name="connsiteY1" fmla="*/ 931922 h 1835999"/>
              <a:gd name="connsiteX2" fmla="*/ 1511918 w 1889997"/>
              <a:gd name="connsiteY2" fmla="*/ 1835921 h 1835999"/>
              <a:gd name="connsiteX3" fmla="*/ 1079921 w 1889997"/>
              <a:gd name="connsiteY3" fmla="*/ 1835921 h 1835999"/>
              <a:gd name="connsiteX4" fmla="*/ 1734498 w 1889997"/>
              <a:gd name="connsiteY4" fmla="*/ 701922 h 1835999"/>
              <a:gd name="connsiteX5" fmla="*/ 1619922 w 1889997"/>
              <a:gd name="connsiteY5" fmla="*/ 828052 h 1835999"/>
              <a:gd name="connsiteX6" fmla="*/ 1619922 w 1889997"/>
              <a:gd name="connsiteY6" fmla="*/ 1835921 h 1835999"/>
              <a:gd name="connsiteX7" fmla="*/ 1889918 w 1889997"/>
              <a:gd name="connsiteY7" fmla="*/ 1835921 h 1835999"/>
              <a:gd name="connsiteX8" fmla="*/ 1889918 w 1889997"/>
              <a:gd name="connsiteY8" fmla="*/ 701922 h 1835999"/>
              <a:gd name="connsiteX9" fmla="*/ -79 w 1889997"/>
              <a:gd name="connsiteY9" fmla="*/ 1835921 h 1835999"/>
              <a:gd name="connsiteX10" fmla="*/ 971917 w 1889997"/>
              <a:gd name="connsiteY10" fmla="*/ 1835921 h 1835999"/>
              <a:gd name="connsiteX11" fmla="*/ 971917 w 1889997"/>
              <a:gd name="connsiteY11" fmla="*/ 1293034 h 1835999"/>
              <a:gd name="connsiteX12" fmla="*/ -79 w 1889997"/>
              <a:gd name="connsiteY12" fmla="*/ 1511899 h 1835999"/>
              <a:gd name="connsiteX13" fmla="*/ 1746738 w 1889997"/>
              <a:gd name="connsiteY13" fmla="*/ 289470 h 1835999"/>
              <a:gd name="connsiteX14" fmla="*/ 1763426 w 1889997"/>
              <a:gd name="connsiteY14" fmla="*/ 528014 h 1835999"/>
              <a:gd name="connsiteX15" fmla="*/ 1889918 w 1889997"/>
              <a:gd name="connsiteY15" fmla="*/ 528052 h 1835999"/>
              <a:gd name="connsiteX16" fmla="*/ 1889918 w 1889997"/>
              <a:gd name="connsiteY16" fmla="*/ -79 h 1835999"/>
              <a:gd name="connsiteX17" fmla="*/ 1361795 w 1889997"/>
              <a:gd name="connsiteY17" fmla="*/ -79 h 1835999"/>
              <a:gd name="connsiteX18" fmla="*/ 1361823 w 1889997"/>
              <a:gd name="connsiteY18" fmla="*/ 126424 h 1835999"/>
              <a:gd name="connsiteX19" fmla="*/ 1581622 w 1889997"/>
              <a:gd name="connsiteY19" fmla="*/ 141791 h 1835999"/>
              <a:gd name="connsiteX20" fmla="*/ -79 w 1889997"/>
              <a:gd name="connsiteY20" fmla="*/ 1093380 h 1835999"/>
              <a:gd name="connsiteX21" fmla="*/ -79 w 1889997"/>
              <a:gd name="connsiteY21" fmla="*/ 1309388 h 1835999"/>
              <a:gd name="connsiteX22" fmla="*/ 1746738 w 1889997"/>
              <a:gd name="connsiteY22" fmla="*/ 289470 h 1835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89997" h="1835999">
                <a:moveTo>
                  <a:pt x="1079921" y="1237836"/>
                </a:moveTo>
                <a:cubicBezTo>
                  <a:pt x="1235360" y="1153073"/>
                  <a:pt x="1380349" y="1050394"/>
                  <a:pt x="1511918" y="931922"/>
                </a:cubicBezTo>
                <a:lnTo>
                  <a:pt x="1511918" y="1835921"/>
                </a:lnTo>
                <a:lnTo>
                  <a:pt x="1079921" y="1835921"/>
                </a:lnTo>
                <a:close/>
                <a:moveTo>
                  <a:pt x="1734498" y="701922"/>
                </a:moveTo>
                <a:cubicBezTo>
                  <a:pt x="1698094" y="745194"/>
                  <a:pt x="1659908" y="787237"/>
                  <a:pt x="1619922" y="828052"/>
                </a:cubicBezTo>
                <a:lnTo>
                  <a:pt x="1619922" y="1835921"/>
                </a:lnTo>
                <a:lnTo>
                  <a:pt x="1889918" y="1835921"/>
                </a:lnTo>
                <a:lnTo>
                  <a:pt x="1889918" y="701922"/>
                </a:lnTo>
                <a:close/>
                <a:moveTo>
                  <a:pt x="-79" y="1835921"/>
                </a:moveTo>
                <a:lnTo>
                  <a:pt x="971917" y="1835921"/>
                </a:lnTo>
                <a:lnTo>
                  <a:pt x="971917" y="1293034"/>
                </a:lnTo>
                <a:cubicBezTo>
                  <a:pt x="668232" y="1437385"/>
                  <a:pt x="336171" y="1512166"/>
                  <a:pt x="-79" y="1511899"/>
                </a:cubicBezTo>
                <a:close/>
                <a:moveTo>
                  <a:pt x="1746738" y="289470"/>
                </a:moveTo>
                <a:lnTo>
                  <a:pt x="1763426" y="528014"/>
                </a:lnTo>
                <a:lnTo>
                  <a:pt x="1889918" y="528052"/>
                </a:lnTo>
                <a:lnTo>
                  <a:pt x="1889918" y="-79"/>
                </a:lnTo>
                <a:lnTo>
                  <a:pt x="1361795" y="-79"/>
                </a:lnTo>
                <a:lnTo>
                  <a:pt x="1361823" y="126424"/>
                </a:lnTo>
                <a:lnTo>
                  <a:pt x="1581622" y="141791"/>
                </a:lnTo>
                <a:cubicBezTo>
                  <a:pt x="1270021" y="726220"/>
                  <a:pt x="662222" y="1091885"/>
                  <a:pt x="-79" y="1093380"/>
                </a:cubicBezTo>
                <a:lnTo>
                  <a:pt x="-79" y="1309388"/>
                </a:lnTo>
                <a:cubicBezTo>
                  <a:pt x="747613" y="1308398"/>
                  <a:pt x="1400914" y="897298"/>
                  <a:pt x="1746738" y="289470"/>
                </a:cubicBezTo>
                <a:close/>
              </a:path>
            </a:pathLst>
          </a:custGeom>
          <a:solidFill>
            <a:srgbClr val="FFFFFF"/>
          </a:solidFill>
          <a:ln w="9525" cap="flat">
            <a:noFill/>
            <a:prstDash val="solid"/>
            <a:miter/>
          </a:ln>
        </p:spPr>
        <p:txBody>
          <a:bodyPr rtlCol="0" anchor="ctr"/>
          <a:lstStyle/>
          <a:p>
            <a:endParaRPr lang="en-US"/>
          </a:p>
        </p:txBody>
      </p:sp>
      <p:sp>
        <p:nvSpPr>
          <p:cNvPr id="60" name="Grafik 58">
            <a:extLst>
              <a:ext uri="{FF2B5EF4-FFF2-40B4-BE49-F238E27FC236}">
                <a16:creationId xmlns:a16="http://schemas.microsoft.com/office/drawing/2014/main" id="{C8C94C94-6626-47C8-B048-437F3F09423A}"/>
              </a:ext>
            </a:extLst>
          </p:cNvPr>
          <p:cNvSpPr/>
          <p:nvPr/>
        </p:nvSpPr>
        <p:spPr>
          <a:xfrm>
            <a:off x="2826968" y="2020735"/>
            <a:ext cx="785990" cy="785991"/>
          </a:xfrm>
          <a:custGeom>
            <a:avLst/>
            <a:gdLst>
              <a:gd name="connsiteX0" fmla="*/ 917910 w 1835998"/>
              <a:gd name="connsiteY0" fmla="*/ -85 h 1836001"/>
              <a:gd name="connsiteX1" fmla="*/ -88 w 1835998"/>
              <a:gd name="connsiteY1" fmla="*/ 917916 h 1836001"/>
              <a:gd name="connsiteX2" fmla="*/ 917910 w 1835998"/>
              <a:gd name="connsiteY2" fmla="*/ 1835917 h 1836001"/>
              <a:gd name="connsiteX3" fmla="*/ 1835910 w 1835998"/>
              <a:gd name="connsiteY3" fmla="*/ 917916 h 1836001"/>
              <a:gd name="connsiteX4" fmla="*/ 1835910 w 1835998"/>
              <a:gd name="connsiteY4" fmla="*/ 917907 h 1836001"/>
              <a:gd name="connsiteX5" fmla="*/ 917919 w 1835998"/>
              <a:gd name="connsiteY5" fmla="*/ -85 h 1836001"/>
              <a:gd name="connsiteX6" fmla="*/ 152776 w 1835998"/>
              <a:gd name="connsiteY6" fmla="*/ 1183731 h 1836001"/>
              <a:gd name="connsiteX7" fmla="*/ 652181 w 1835998"/>
              <a:gd name="connsiteY7" fmla="*/ 152630 h 1836001"/>
              <a:gd name="connsiteX8" fmla="*/ 756309 w 1835998"/>
              <a:gd name="connsiteY8" fmla="*/ 124075 h 1836001"/>
              <a:gd name="connsiteX9" fmla="*/ 756309 w 1835998"/>
              <a:gd name="connsiteY9" fmla="*/ 835287 h 1836001"/>
              <a:gd name="connsiteX10" fmla="*/ 973260 w 1835998"/>
              <a:gd name="connsiteY10" fmla="*/ 107908 h 1836001"/>
              <a:gd name="connsiteX11" fmla="*/ 973260 w 1835998"/>
              <a:gd name="connsiteY11" fmla="*/ 949863 h 1836001"/>
              <a:gd name="connsiteX12" fmla="*/ 972593 w 1835998"/>
              <a:gd name="connsiteY12" fmla="*/ 950254 h 1836001"/>
              <a:gd name="connsiteX13" fmla="*/ 594584 w 1835998"/>
              <a:gd name="connsiteY13" fmla="*/ 1168491 h 1836001"/>
              <a:gd name="connsiteX14" fmla="*/ 593403 w 1835998"/>
              <a:gd name="connsiteY14" fmla="*/ 1169167 h 1836001"/>
              <a:gd name="connsiteX15" fmla="*/ 592736 w 1835998"/>
              <a:gd name="connsiteY15" fmla="*/ 1168014 h 1836001"/>
              <a:gd name="connsiteX16" fmla="*/ 538739 w 1835998"/>
              <a:gd name="connsiteY16" fmla="*/ 1074450 h 1836001"/>
              <a:gd name="connsiteX17" fmla="*/ 538062 w 1835998"/>
              <a:gd name="connsiteY17" fmla="*/ 1073298 h 1836001"/>
              <a:gd name="connsiteX18" fmla="*/ 539234 w 1835998"/>
              <a:gd name="connsiteY18" fmla="*/ 1072612 h 1836001"/>
              <a:gd name="connsiteX19" fmla="*/ 862560 w 1835998"/>
              <a:gd name="connsiteY19" fmla="*/ 885941 h 1836001"/>
              <a:gd name="connsiteX20" fmla="*/ 862560 w 1835998"/>
              <a:gd name="connsiteY20" fmla="*/ 106569 h 1836001"/>
              <a:gd name="connsiteX21" fmla="*/ 973260 w 1835998"/>
              <a:gd name="connsiteY21" fmla="*/ 106569 h 1836001"/>
              <a:gd name="connsiteX22" fmla="*/ 449099 w 1835998"/>
              <a:gd name="connsiteY22" fmla="*/ 790548 h 1836001"/>
              <a:gd name="connsiteX23" fmla="*/ 585602 w 1835998"/>
              <a:gd name="connsiteY23" fmla="*/ 723968 h 1836001"/>
              <a:gd name="connsiteX24" fmla="*/ 622501 w 1835998"/>
              <a:gd name="connsiteY24" fmla="*/ 787872 h 1836001"/>
              <a:gd name="connsiteX25" fmla="*/ 355716 w 1835998"/>
              <a:gd name="connsiteY25" fmla="*/ 941881 h 1836001"/>
              <a:gd name="connsiteX26" fmla="*/ 201687 w 1835998"/>
              <a:gd name="connsiteY26" fmla="*/ 675096 h 1836001"/>
              <a:gd name="connsiteX27" fmla="*/ 265600 w 1835998"/>
              <a:gd name="connsiteY27" fmla="*/ 638224 h 1836001"/>
              <a:gd name="connsiteX28" fmla="*/ 346257 w 1835998"/>
              <a:gd name="connsiteY28" fmla="*/ 757801 h 1836001"/>
              <a:gd name="connsiteX29" fmla="*/ 617815 w 1835998"/>
              <a:gd name="connsiteY29" fmla="*/ 405605 h 1836001"/>
              <a:gd name="connsiteX30" fmla="*/ 674851 w 1835998"/>
              <a:gd name="connsiteY30" fmla="*/ 496683 h 1836001"/>
              <a:gd name="connsiteX31" fmla="*/ 675118 w 1835998"/>
              <a:gd name="connsiteY31" fmla="*/ 497169 h 1836001"/>
              <a:gd name="connsiteX32" fmla="*/ 449099 w 1835998"/>
              <a:gd name="connsiteY32" fmla="*/ 790548 h 183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35998" h="1836001">
                <a:moveTo>
                  <a:pt x="917910" y="-85"/>
                </a:moveTo>
                <a:cubicBezTo>
                  <a:pt x="410913" y="-86"/>
                  <a:pt x="-87" y="410920"/>
                  <a:pt x="-88" y="917916"/>
                </a:cubicBezTo>
                <a:cubicBezTo>
                  <a:pt x="-88" y="1424913"/>
                  <a:pt x="410913" y="1835917"/>
                  <a:pt x="917910" y="1835917"/>
                </a:cubicBezTo>
                <a:cubicBezTo>
                  <a:pt x="1424907" y="1835917"/>
                  <a:pt x="1835910" y="1424913"/>
                  <a:pt x="1835910" y="917916"/>
                </a:cubicBezTo>
                <a:cubicBezTo>
                  <a:pt x="1835910" y="917916"/>
                  <a:pt x="1835910" y="917907"/>
                  <a:pt x="1835910" y="917907"/>
                </a:cubicBezTo>
                <a:cubicBezTo>
                  <a:pt x="1835910" y="410910"/>
                  <a:pt x="1424916" y="-85"/>
                  <a:pt x="917919" y="-85"/>
                </a:cubicBezTo>
                <a:close/>
                <a:moveTo>
                  <a:pt x="152776" y="1183731"/>
                </a:moveTo>
                <a:cubicBezTo>
                  <a:pt x="5950" y="761097"/>
                  <a:pt x="229538" y="299458"/>
                  <a:pt x="652181" y="152630"/>
                </a:cubicBezTo>
                <a:cubicBezTo>
                  <a:pt x="686214" y="140809"/>
                  <a:pt x="720999" y="131268"/>
                  <a:pt x="756309" y="124075"/>
                </a:cubicBezTo>
                <a:lnTo>
                  <a:pt x="756309" y="835287"/>
                </a:lnTo>
                <a:close/>
                <a:moveTo>
                  <a:pt x="973260" y="107908"/>
                </a:moveTo>
                <a:lnTo>
                  <a:pt x="973260" y="949863"/>
                </a:lnTo>
                <a:lnTo>
                  <a:pt x="972593" y="950254"/>
                </a:lnTo>
                <a:lnTo>
                  <a:pt x="594584" y="1168491"/>
                </a:lnTo>
                <a:lnTo>
                  <a:pt x="593403" y="1169167"/>
                </a:lnTo>
                <a:lnTo>
                  <a:pt x="592736" y="1168014"/>
                </a:lnTo>
                <a:lnTo>
                  <a:pt x="538739" y="1074450"/>
                </a:lnTo>
                <a:lnTo>
                  <a:pt x="538062" y="1073298"/>
                </a:lnTo>
                <a:lnTo>
                  <a:pt x="539234" y="1072612"/>
                </a:lnTo>
                <a:lnTo>
                  <a:pt x="862560" y="885941"/>
                </a:lnTo>
                <a:lnTo>
                  <a:pt x="862560" y="106569"/>
                </a:lnTo>
                <a:lnTo>
                  <a:pt x="973260" y="106569"/>
                </a:lnTo>
                <a:close/>
                <a:moveTo>
                  <a:pt x="449099" y="790548"/>
                </a:moveTo>
                <a:lnTo>
                  <a:pt x="585602" y="723968"/>
                </a:lnTo>
                <a:lnTo>
                  <a:pt x="622501" y="787872"/>
                </a:lnTo>
                <a:lnTo>
                  <a:pt x="355716" y="941881"/>
                </a:lnTo>
                <a:lnTo>
                  <a:pt x="201687" y="675096"/>
                </a:lnTo>
                <a:lnTo>
                  <a:pt x="265600" y="638224"/>
                </a:lnTo>
                <a:lnTo>
                  <a:pt x="346257" y="757801"/>
                </a:lnTo>
                <a:cubicBezTo>
                  <a:pt x="387958" y="609773"/>
                  <a:pt x="485256" y="483576"/>
                  <a:pt x="617815" y="405605"/>
                </a:cubicBezTo>
                <a:lnTo>
                  <a:pt x="674851" y="496683"/>
                </a:lnTo>
                <a:lnTo>
                  <a:pt x="675118" y="497169"/>
                </a:lnTo>
                <a:cubicBezTo>
                  <a:pt x="564142" y="561453"/>
                  <a:pt x="482941" y="666847"/>
                  <a:pt x="449099" y="790548"/>
                </a:cubicBezTo>
                <a:close/>
              </a:path>
            </a:pathLst>
          </a:custGeom>
          <a:solidFill>
            <a:srgbClr val="FFFFFF"/>
          </a:solidFill>
          <a:ln w="9525" cap="flat">
            <a:noFill/>
            <a:prstDash val="solid"/>
            <a:miter/>
          </a:ln>
        </p:spPr>
        <p:txBody>
          <a:bodyPr rtlCol="0" anchor="ctr"/>
          <a:lstStyle/>
          <a:p>
            <a:endParaRPr lang="en-US"/>
          </a:p>
        </p:txBody>
      </p:sp>
      <p:sp>
        <p:nvSpPr>
          <p:cNvPr id="61" name="Rechteck 60">
            <a:extLst>
              <a:ext uri="{FF2B5EF4-FFF2-40B4-BE49-F238E27FC236}">
                <a16:creationId xmlns:a16="http://schemas.microsoft.com/office/drawing/2014/main" id="{A7B18EFF-FC6D-4E18-8FE7-69633F949D87}"/>
              </a:ext>
            </a:extLst>
          </p:cNvPr>
          <p:cNvSpPr>
            <a:spLocks/>
          </p:cNvSpPr>
          <p:nvPr/>
        </p:nvSpPr>
        <p:spPr>
          <a:xfrm>
            <a:off x="411163" y="4619658"/>
            <a:ext cx="11379198" cy="1187418"/>
          </a:xfrm>
          <a:prstGeom prst="rect">
            <a:avLst/>
          </a:prstGeom>
          <a:ln w="12700">
            <a:gradFill flip="none" rotWithShape="1">
              <a:gsLst>
                <a:gs pos="0">
                  <a:schemeClr val="accent3"/>
                </a:gs>
                <a:gs pos="100000">
                  <a:schemeClr val="accent3">
                    <a:alpha val="0"/>
                  </a:schemeClr>
                </a:gs>
              </a:gsLst>
              <a:lin ang="18900000" scaled="0"/>
              <a:tileRect/>
            </a:gradFill>
            <a:headEnd w="lg" len="lg"/>
            <a:tailEnd type="none" w="lg" len="lg"/>
          </a:ln>
        </p:spPr>
        <p:style>
          <a:lnRef idx="1">
            <a:schemeClr val="accent1"/>
          </a:lnRef>
          <a:fillRef idx="0">
            <a:schemeClr val="accent1"/>
          </a:fillRef>
          <a:effectRef idx="0">
            <a:schemeClr val="accent1"/>
          </a:effectRef>
          <a:fontRef idx="minor">
            <a:schemeClr val="tx1"/>
          </a:fontRef>
        </p:style>
        <p:txBody>
          <a:bodyPr lIns="180000" tIns="108000" rIns="144000" bIns="108000" rtlCol="0" anchor="ctr" anchorCtr="0"/>
          <a:lstStyle/>
          <a:p>
            <a:pPr>
              <a:spcBef>
                <a:spcPts val="400"/>
              </a:spcBef>
              <a:spcAft>
                <a:spcPts val="400"/>
              </a:spcAft>
            </a:pPr>
            <a:r>
              <a:rPr lang="en-US" sz="2000" cap="all" spc="100">
                <a:solidFill>
                  <a:schemeClr val="accent3"/>
                </a:solidFill>
                <a:cs typeface="Arial"/>
              </a:rPr>
              <a:t>AI helps businesses profit through their digital transformation by increasing operational efficiency, mitigating risks and accelerating growth and innovation.</a:t>
            </a:r>
          </a:p>
        </p:txBody>
      </p:sp>
      <p:sp>
        <p:nvSpPr>
          <p:cNvPr id="4" name="Footer Placeholder 5">
            <a:extLst>
              <a:ext uri="{FF2B5EF4-FFF2-40B4-BE49-F238E27FC236}">
                <a16:creationId xmlns:a16="http://schemas.microsoft.com/office/drawing/2014/main" id="{971A626A-4385-E368-EE76-C51E62544F0C}"/>
              </a:ext>
            </a:extLst>
          </p:cNvPr>
          <p:cNvSpPr>
            <a:spLocks noGrp="1"/>
          </p:cNvSpPr>
          <p:nvPr>
            <p:ph type="ftr" sz="quarter" idx="10"/>
          </p:nvPr>
        </p:nvSpPr>
        <p:spPr>
          <a:xfrm>
            <a:off x="1059160" y="6310800"/>
            <a:ext cx="9216000" cy="547200"/>
          </a:xfrm>
        </p:spPr>
        <p:txBody>
          <a:bodyPr/>
          <a:lstStyle/>
          <a:p>
            <a:r>
              <a:rPr lang="en-US" dirty="0"/>
              <a:t>Unrestricted | © Siemens 2023 | Industrial AI</a:t>
            </a:r>
          </a:p>
        </p:txBody>
      </p:sp>
    </p:spTree>
    <p:extLst>
      <p:ext uri="{BB962C8B-B14F-4D97-AF65-F5344CB8AC3E}">
        <p14:creationId xmlns:p14="http://schemas.microsoft.com/office/powerpoint/2010/main" val="18266069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ree, plant, green, vegetable&#10;&#10;Description automatically generated">
            <a:extLst>
              <a:ext uri="{FF2B5EF4-FFF2-40B4-BE49-F238E27FC236}">
                <a16:creationId xmlns:a16="http://schemas.microsoft.com/office/drawing/2014/main" id="{486B25E5-FD21-CE24-52D8-E905A0D7E9A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5BE7F55E-E999-539B-F955-874934530B82}"/>
              </a:ext>
            </a:extLst>
          </p:cNvPr>
          <p:cNvSpPr/>
          <p:nvPr/>
        </p:nvSpPr>
        <p:spPr>
          <a:xfrm>
            <a:off x="0" y="-2"/>
            <a:ext cx="12191999" cy="6858001"/>
          </a:xfrm>
          <a:prstGeom prst="rect">
            <a:avLst/>
          </a:prstGeom>
          <a:gradFill>
            <a:gsLst>
              <a:gs pos="0">
                <a:schemeClr val="bg1">
                  <a:alpha val="46000"/>
                </a:schemeClr>
              </a:gs>
              <a:gs pos="99000">
                <a:schemeClr val="bg1">
                  <a:alpha val="3608"/>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7" name="Title 36">
            <a:extLst>
              <a:ext uri="{FF2B5EF4-FFF2-40B4-BE49-F238E27FC236}">
                <a16:creationId xmlns:a16="http://schemas.microsoft.com/office/drawing/2014/main" id="{125C975C-88FF-0B43-A009-2E37BD476C25}"/>
              </a:ext>
            </a:extLst>
          </p:cNvPr>
          <p:cNvSpPr>
            <a:spLocks noGrp="1"/>
          </p:cNvSpPr>
          <p:nvPr>
            <p:ph type="title"/>
          </p:nvPr>
        </p:nvSpPr>
        <p:spPr/>
        <p:txBody>
          <a:bodyPr/>
          <a:lstStyle/>
          <a:p>
            <a:r>
              <a:rPr lang="en-US" dirty="0"/>
              <a:t>Urgent implications for industry</a:t>
            </a:r>
          </a:p>
        </p:txBody>
      </p:sp>
      <p:grpSp>
        <p:nvGrpSpPr>
          <p:cNvPr id="14" name="Group 13">
            <a:extLst>
              <a:ext uri="{FF2B5EF4-FFF2-40B4-BE49-F238E27FC236}">
                <a16:creationId xmlns:a16="http://schemas.microsoft.com/office/drawing/2014/main" id="{D7F1867D-F1C6-6579-991D-D43BF6FD1918}"/>
              </a:ext>
            </a:extLst>
          </p:cNvPr>
          <p:cNvGrpSpPr/>
          <p:nvPr/>
        </p:nvGrpSpPr>
        <p:grpSpPr>
          <a:xfrm>
            <a:off x="4204632" y="1226916"/>
            <a:ext cx="3779932" cy="4251783"/>
            <a:chOff x="4204632" y="2153608"/>
            <a:chExt cx="3779932" cy="3325091"/>
          </a:xfrm>
        </p:grpSpPr>
        <p:cxnSp>
          <p:nvCxnSpPr>
            <p:cNvPr id="2" name="Gerader Verbinder 36">
              <a:extLst>
                <a:ext uri="{FF2B5EF4-FFF2-40B4-BE49-F238E27FC236}">
                  <a16:creationId xmlns:a16="http://schemas.microsoft.com/office/drawing/2014/main" id="{9DAF9BAD-C12D-DE7D-5757-636BA6CA657E}"/>
                </a:ext>
              </a:extLst>
            </p:cNvPr>
            <p:cNvCxnSpPr>
              <a:cxnSpLocks/>
            </p:cNvCxnSpPr>
            <p:nvPr/>
          </p:nvCxnSpPr>
          <p:spPr>
            <a:xfrm flipV="1">
              <a:off x="4204632" y="2153608"/>
              <a:ext cx="0" cy="3325091"/>
            </a:xfrm>
            <a:prstGeom prst="line">
              <a:avLst/>
            </a:prstGeom>
            <a:ln w="9525">
              <a:solidFill>
                <a:schemeClr val="tx2"/>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1" name="Gerader Verbinder 36">
              <a:extLst>
                <a:ext uri="{FF2B5EF4-FFF2-40B4-BE49-F238E27FC236}">
                  <a16:creationId xmlns:a16="http://schemas.microsoft.com/office/drawing/2014/main" id="{8CB2F6F4-767D-8C42-67D3-167216F38406}"/>
                </a:ext>
              </a:extLst>
            </p:cNvPr>
            <p:cNvCxnSpPr>
              <a:cxnSpLocks/>
            </p:cNvCxnSpPr>
            <p:nvPr/>
          </p:nvCxnSpPr>
          <p:spPr>
            <a:xfrm flipV="1">
              <a:off x="7984564" y="2153608"/>
              <a:ext cx="0" cy="3325091"/>
            </a:xfrm>
            <a:prstGeom prst="line">
              <a:avLst/>
            </a:prstGeom>
            <a:ln w="9525">
              <a:solidFill>
                <a:schemeClr val="tx2"/>
              </a:solidFill>
              <a:headEnd w="lg" len="lg"/>
              <a:tailEnd type="none" w="lg" len="lg"/>
            </a:ln>
          </p:spPr>
          <p:style>
            <a:lnRef idx="1">
              <a:schemeClr val="accent1"/>
            </a:lnRef>
            <a:fillRef idx="0">
              <a:schemeClr val="accent1"/>
            </a:fillRef>
            <a:effectRef idx="0">
              <a:schemeClr val="accent1"/>
            </a:effectRef>
            <a:fontRef idx="minor">
              <a:schemeClr val="tx1"/>
            </a:fontRef>
          </p:style>
        </p:cxnSp>
      </p:grpSp>
      <p:sp>
        <p:nvSpPr>
          <p:cNvPr id="15" name="Rechteck 23">
            <a:extLst>
              <a:ext uri="{FF2B5EF4-FFF2-40B4-BE49-F238E27FC236}">
                <a16:creationId xmlns:a16="http://schemas.microsoft.com/office/drawing/2014/main" id="{A708C844-C3E6-337A-FA2E-9A195BA5E324}"/>
              </a:ext>
            </a:extLst>
          </p:cNvPr>
          <p:cNvSpPr>
            <a:spLocks/>
          </p:cNvSpPr>
          <p:nvPr/>
        </p:nvSpPr>
        <p:spPr>
          <a:xfrm>
            <a:off x="958998" y="2250167"/>
            <a:ext cx="2679388" cy="1538883"/>
          </a:xfrm>
          <a:prstGeom prst="rect">
            <a:avLst/>
          </a:prstGeom>
          <a:noFill/>
          <a:ln>
            <a:noFill/>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p>
            <a:pPr marL="0" marR="0" lvl="1" indent="0" algn="ctr" defTabSz="914400" rtl="0" eaLnBrk="1" fontAlgn="auto" latinLnBrk="0" hangingPunct="1">
              <a:lnSpc>
                <a:spcPct val="100000"/>
              </a:lnSpc>
              <a:spcBef>
                <a:spcPts val="0"/>
              </a:spcBef>
              <a:spcAft>
                <a:spcPts val="0"/>
              </a:spcAft>
              <a:buClrTx/>
              <a:buSzPts val="1000"/>
              <a:buFontTx/>
              <a:buNone/>
              <a:tabLst>
                <a:tab pos="914400" algn="l"/>
              </a:tabLst>
              <a:defRPr/>
            </a:pPr>
            <a:r>
              <a:rPr kumimoji="0" lang="en-US" sz="10000" b="1" i="0" u="none" strike="noStrike" kern="1200" cap="none" spc="0" normalizeH="0" baseline="0" noProof="0">
                <a:ln>
                  <a:noFill/>
                </a:ln>
                <a:gradFill flip="none" rotWithShape="1">
                  <a:gsLst>
                    <a:gs pos="100000">
                      <a:srgbClr val="00BEDC"/>
                    </a:gs>
                    <a:gs pos="0">
                      <a:srgbClr val="00D7A0"/>
                    </a:gs>
                  </a:gsLst>
                  <a:lin ang="0" scaled="0"/>
                  <a:tileRect/>
                </a:gradFill>
                <a:effectLst/>
                <a:uLnTx/>
                <a:uFillTx/>
                <a:latin typeface="Arial"/>
                <a:ea typeface="+mn-ea"/>
                <a:cs typeface="Times New Roman" panose="02020603050405020304" pitchFamily="18" charset="0"/>
              </a:rPr>
              <a:t>30% </a:t>
            </a:r>
          </a:p>
        </p:txBody>
      </p:sp>
      <p:sp>
        <p:nvSpPr>
          <p:cNvPr id="16" name="Rechteck 24">
            <a:extLst>
              <a:ext uri="{FF2B5EF4-FFF2-40B4-BE49-F238E27FC236}">
                <a16:creationId xmlns:a16="http://schemas.microsoft.com/office/drawing/2014/main" id="{53B27F24-43E9-ED6E-43C5-006E04FF7E5D}"/>
              </a:ext>
            </a:extLst>
          </p:cNvPr>
          <p:cNvSpPr>
            <a:spLocks/>
          </p:cNvSpPr>
          <p:nvPr/>
        </p:nvSpPr>
        <p:spPr>
          <a:xfrm>
            <a:off x="4762051" y="2250167"/>
            <a:ext cx="2679388" cy="1538883"/>
          </a:xfrm>
          <a:prstGeom prst="rect">
            <a:avLst/>
          </a:prstGeom>
          <a:noFill/>
          <a:ln>
            <a:noFill/>
          </a:ln>
          <a:effectLst>
            <a:outerShdw blurRad="63500" sx="102000" sy="102000" algn="ctr"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p>
            <a:pPr marL="0" marR="0" lvl="1" indent="0" algn="ctr" defTabSz="914400" rtl="0" eaLnBrk="1" fontAlgn="auto" latinLnBrk="0" hangingPunct="1">
              <a:lnSpc>
                <a:spcPct val="100000"/>
              </a:lnSpc>
              <a:spcBef>
                <a:spcPts val="0"/>
              </a:spcBef>
              <a:spcAft>
                <a:spcPts val="0"/>
              </a:spcAft>
              <a:buClrTx/>
              <a:buSzPts val="1000"/>
              <a:buFontTx/>
              <a:buNone/>
              <a:tabLst>
                <a:tab pos="914400" algn="l"/>
              </a:tabLst>
              <a:defRPr/>
            </a:pPr>
            <a:r>
              <a:rPr kumimoji="0" lang="en-US" sz="10000" b="1" i="0" u="none" strike="noStrike" kern="1200" cap="none" spc="0" normalizeH="0" baseline="0" noProof="0">
                <a:ln>
                  <a:noFill/>
                </a:ln>
                <a:gradFill>
                  <a:gsLst>
                    <a:gs pos="100000">
                      <a:srgbClr val="00BEDC"/>
                    </a:gs>
                    <a:gs pos="0">
                      <a:srgbClr val="00D7A0"/>
                    </a:gs>
                  </a:gsLst>
                  <a:lin ang="0" scaled="0"/>
                </a:gradFill>
                <a:effectLst/>
                <a:uLnTx/>
                <a:uFillTx/>
                <a:latin typeface="Arial"/>
                <a:ea typeface="+mn-ea"/>
                <a:cs typeface="Times New Roman"/>
              </a:rPr>
              <a:t>38%</a:t>
            </a:r>
            <a:endParaRPr kumimoji="0" lang="en-US" sz="10000" b="0" i="0" u="none" strike="noStrike" kern="1200" cap="none" spc="0" normalizeH="0" baseline="0" noProof="0">
              <a:ln>
                <a:noFill/>
              </a:ln>
              <a:gradFill>
                <a:gsLst>
                  <a:gs pos="100000">
                    <a:srgbClr val="00BEDC"/>
                  </a:gs>
                  <a:gs pos="0">
                    <a:srgbClr val="00D7A0"/>
                  </a:gs>
                </a:gsLst>
                <a:lin ang="0" scaled="0"/>
              </a:gradFill>
              <a:effectLst/>
              <a:uLnTx/>
              <a:uFillTx/>
              <a:latin typeface="Arial"/>
              <a:ea typeface="Times New Roman" panose="02020603050405020304" pitchFamily="18" charset="0"/>
              <a:cs typeface="Times New Roman"/>
            </a:endParaRPr>
          </a:p>
        </p:txBody>
      </p:sp>
      <p:sp>
        <p:nvSpPr>
          <p:cNvPr id="17" name="Rechteck 25">
            <a:extLst>
              <a:ext uri="{FF2B5EF4-FFF2-40B4-BE49-F238E27FC236}">
                <a16:creationId xmlns:a16="http://schemas.microsoft.com/office/drawing/2014/main" id="{93E8E207-3CAE-684B-46EA-216F00FC6C33}"/>
              </a:ext>
            </a:extLst>
          </p:cNvPr>
          <p:cNvSpPr>
            <a:spLocks/>
          </p:cNvSpPr>
          <p:nvPr/>
        </p:nvSpPr>
        <p:spPr>
          <a:xfrm>
            <a:off x="8483039" y="2250167"/>
            <a:ext cx="3214945" cy="1538883"/>
          </a:xfrm>
          <a:prstGeom prst="rect">
            <a:avLst/>
          </a:prstGeom>
          <a:noFill/>
          <a:ln>
            <a:noFill/>
          </a:ln>
          <a:effectLst>
            <a:outerShdw blurRad="63500" sx="102000" sy="102000" algn="ctr" rotWithShape="0">
              <a:prstClr val="black">
                <a:alpha val="18851"/>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pPr marL="0" marR="0" lvl="1" indent="0" algn="ctr" defTabSz="914400" rtl="0" eaLnBrk="1" fontAlgn="auto" latinLnBrk="0" hangingPunct="1">
              <a:lnSpc>
                <a:spcPct val="100000"/>
              </a:lnSpc>
              <a:spcBef>
                <a:spcPts val="0"/>
              </a:spcBef>
              <a:spcAft>
                <a:spcPts val="0"/>
              </a:spcAft>
              <a:buClrTx/>
              <a:buSzPts val="1000"/>
              <a:buFontTx/>
              <a:buNone/>
              <a:tabLst>
                <a:tab pos="914400" algn="l"/>
              </a:tabLst>
              <a:defRPr/>
            </a:pPr>
            <a:r>
              <a:rPr kumimoji="0" lang="en-US" sz="10000" b="1" i="0" u="none" strike="noStrike" kern="1200" cap="none" spc="0" normalizeH="0" baseline="0" noProof="0">
                <a:ln>
                  <a:noFill/>
                </a:ln>
                <a:gradFill>
                  <a:gsLst>
                    <a:gs pos="100000">
                      <a:srgbClr val="00BEDC"/>
                    </a:gs>
                    <a:gs pos="0">
                      <a:srgbClr val="00D7A0"/>
                    </a:gs>
                  </a:gsLst>
                  <a:lin ang="0" scaled="0"/>
                </a:gradFill>
                <a:effectLst/>
                <a:uLnTx/>
                <a:uFillTx/>
                <a:latin typeface="Arial"/>
                <a:ea typeface="+mn-ea"/>
                <a:cs typeface="Times New Roman" panose="02020603050405020304" pitchFamily="18" charset="0"/>
              </a:rPr>
              <a:t>13%</a:t>
            </a:r>
            <a:endParaRPr kumimoji="0" lang="en-US" sz="10000" b="0" i="0" u="none" strike="noStrike" kern="1200" cap="none" spc="0" normalizeH="0" baseline="0" noProof="0">
              <a:ln>
                <a:noFill/>
              </a:ln>
              <a:gradFill>
                <a:gsLst>
                  <a:gs pos="100000">
                    <a:srgbClr val="00BEDC"/>
                  </a:gs>
                  <a:gs pos="0">
                    <a:srgbClr val="00D7A0"/>
                  </a:gs>
                </a:gsLst>
                <a:lin ang="0" scaled="0"/>
              </a:gradFill>
              <a:effectLst/>
              <a:uLnTx/>
              <a:uFillTx/>
              <a:latin typeface="Arial"/>
              <a:ea typeface="Calibri" panose="020F0502020204030204" pitchFamily="34" charset="0"/>
              <a:cs typeface="Times New Roman" panose="02020603050405020304" pitchFamily="18" charset="0"/>
            </a:endParaRPr>
          </a:p>
        </p:txBody>
      </p:sp>
      <p:sp>
        <p:nvSpPr>
          <p:cNvPr id="18" name="Rechteck 23">
            <a:extLst>
              <a:ext uri="{FF2B5EF4-FFF2-40B4-BE49-F238E27FC236}">
                <a16:creationId xmlns:a16="http://schemas.microsoft.com/office/drawing/2014/main" id="{A1108165-9DB0-5371-C09F-6888A445760D}"/>
              </a:ext>
            </a:extLst>
          </p:cNvPr>
          <p:cNvSpPr>
            <a:spLocks/>
          </p:cNvSpPr>
          <p:nvPr/>
        </p:nvSpPr>
        <p:spPr>
          <a:xfrm>
            <a:off x="410400" y="1880835"/>
            <a:ext cx="3794232" cy="369332"/>
          </a:xfrm>
          <a:prstGeom prst="rect">
            <a:avLst/>
          </a:prstGeom>
          <a:no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pPr marL="0" marR="0" lvl="1" indent="0" algn="ctr" defTabSz="914400" rtl="0" eaLnBrk="1" fontAlgn="auto" latinLnBrk="0" hangingPunct="1">
              <a:lnSpc>
                <a:spcPct val="100000"/>
              </a:lnSpc>
              <a:spcBef>
                <a:spcPts val="0"/>
              </a:spcBef>
              <a:spcAft>
                <a:spcPts val="0"/>
              </a:spcAft>
              <a:buClrTx/>
              <a:buSzPts val="1000"/>
              <a:buFontTx/>
              <a:buNone/>
              <a:tabLst>
                <a:tab pos="914400" algn="l"/>
              </a:tabLst>
              <a:defRPr/>
            </a:pPr>
            <a:r>
              <a:rPr kumimoji="0" lang="en-US" sz="2400" b="1" i="0" u="none" strike="noStrike" kern="1200" cap="none" spc="0" normalizeH="0" baseline="0" noProof="0">
                <a:ln>
                  <a:noFill/>
                </a:ln>
                <a:solidFill>
                  <a:srgbClr val="00D7A0"/>
                </a:solidFill>
                <a:effectLst/>
                <a:uLnTx/>
                <a:uFillTx/>
                <a:latin typeface="Arial"/>
                <a:ea typeface="+mn-ea"/>
                <a:cs typeface="Times New Roman" panose="02020603050405020304" pitchFamily="18" charset="0"/>
              </a:rPr>
              <a:t>Decarbonization</a:t>
            </a:r>
            <a:r>
              <a:rPr kumimoji="0" lang="en-US" sz="1800" b="0" i="0" u="none" strike="noStrike" kern="1200" cap="none" spc="0" normalizeH="0" baseline="0" noProof="0">
                <a:ln>
                  <a:noFill/>
                </a:ln>
                <a:solidFill>
                  <a:srgbClr val="EF0137"/>
                </a:solidFill>
                <a:effectLst/>
                <a:uLnTx/>
                <a:uFillTx/>
                <a:latin typeface="Arial"/>
                <a:ea typeface="+mn-ea"/>
                <a:cs typeface="Times New Roman" panose="02020603050405020304" pitchFamily="18" charset="0"/>
              </a:rPr>
              <a:t> </a:t>
            </a:r>
          </a:p>
        </p:txBody>
      </p:sp>
      <p:sp>
        <p:nvSpPr>
          <p:cNvPr id="20" name="Rechteck 23">
            <a:extLst>
              <a:ext uri="{FF2B5EF4-FFF2-40B4-BE49-F238E27FC236}">
                <a16:creationId xmlns:a16="http://schemas.microsoft.com/office/drawing/2014/main" id="{C8C81496-9E4C-80C3-33F0-28022F28189D}"/>
              </a:ext>
            </a:extLst>
          </p:cNvPr>
          <p:cNvSpPr>
            <a:spLocks/>
          </p:cNvSpPr>
          <p:nvPr/>
        </p:nvSpPr>
        <p:spPr>
          <a:xfrm>
            <a:off x="4204631" y="1880835"/>
            <a:ext cx="3779931" cy="369332"/>
          </a:xfrm>
          <a:prstGeom prst="rect">
            <a:avLst/>
          </a:prstGeom>
          <a:no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pPr marL="0" marR="0" lvl="1" indent="0" algn="ctr" defTabSz="914400" rtl="0" eaLnBrk="1" fontAlgn="auto" latinLnBrk="0" hangingPunct="1">
              <a:lnSpc>
                <a:spcPct val="100000"/>
              </a:lnSpc>
              <a:spcBef>
                <a:spcPts val="0"/>
              </a:spcBef>
              <a:spcAft>
                <a:spcPts val="0"/>
              </a:spcAft>
              <a:buClrTx/>
              <a:buSzPts val="1000"/>
              <a:buFontTx/>
              <a:buNone/>
              <a:tabLst>
                <a:tab pos="914400" algn="l"/>
              </a:tabLst>
              <a:defRPr/>
            </a:pPr>
            <a:r>
              <a:rPr kumimoji="0" lang="en-US" sz="2400" b="1" i="0" u="none" strike="noStrike" kern="1200" cap="none" spc="0" normalizeH="0" baseline="0" noProof="0">
                <a:ln>
                  <a:noFill/>
                </a:ln>
                <a:solidFill>
                  <a:srgbClr val="00D7A0"/>
                </a:solidFill>
                <a:effectLst/>
                <a:uLnTx/>
                <a:uFillTx/>
                <a:latin typeface="Arial"/>
                <a:ea typeface="+mn-ea"/>
                <a:cs typeface="Times New Roman" panose="02020603050405020304" pitchFamily="18" charset="0"/>
              </a:rPr>
              <a:t>Energy efficiency</a:t>
            </a:r>
            <a:endParaRPr kumimoji="0" lang="en-US" sz="1800" b="0" i="0" u="none" strike="noStrike" kern="1200" cap="none" spc="0" normalizeH="0" baseline="0" noProof="0">
              <a:ln>
                <a:noFill/>
              </a:ln>
              <a:solidFill>
                <a:srgbClr val="00D7A0"/>
              </a:solidFill>
              <a:effectLst/>
              <a:uLnTx/>
              <a:uFillTx/>
              <a:latin typeface="Arial"/>
              <a:ea typeface="+mn-ea"/>
              <a:cs typeface="Times New Roman" panose="02020603050405020304" pitchFamily="18" charset="0"/>
            </a:endParaRPr>
          </a:p>
        </p:txBody>
      </p:sp>
      <p:sp>
        <p:nvSpPr>
          <p:cNvPr id="21" name="Rechteck 23">
            <a:extLst>
              <a:ext uri="{FF2B5EF4-FFF2-40B4-BE49-F238E27FC236}">
                <a16:creationId xmlns:a16="http://schemas.microsoft.com/office/drawing/2014/main" id="{86B86305-1E87-4298-82F7-71FC88322FC5}"/>
              </a:ext>
            </a:extLst>
          </p:cNvPr>
          <p:cNvSpPr>
            <a:spLocks/>
          </p:cNvSpPr>
          <p:nvPr/>
        </p:nvSpPr>
        <p:spPr>
          <a:xfrm>
            <a:off x="7984561" y="1880835"/>
            <a:ext cx="3794231" cy="369332"/>
          </a:xfrm>
          <a:prstGeom prst="rect">
            <a:avLst/>
          </a:prstGeom>
          <a:no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pPr marL="0" marR="0" lvl="1" indent="0" algn="ctr" defTabSz="914400" rtl="0" eaLnBrk="1" fontAlgn="auto" latinLnBrk="0" hangingPunct="1">
              <a:lnSpc>
                <a:spcPct val="100000"/>
              </a:lnSpc>
              <a:spcBef>
                <a:spcPts val="0"/>
              </a:spcBef>
              <a:spcAft>
                <a:spcPts val="0"/>
              </a:spcAft>
              <a:buClrTx/>
              <a:buSzPts val="1000"/>
              <a:buFontTx/>
              <a:buNone/>
              <a:tabLst>
                <a:tab pos="914400" algn="l"/>
              </a:tabLst>
              <a:defRPr/>
            </a:pPr>
            <a:r>
              <a:rPr kumimoji="0" lang="en-US" sz="2400" b="1" i="0" u="none" strike="noStrike" kern="1200" cap="none" spc="0" normalizeH="0" baseline="0" noProof="0">
                <a:ln>
                  <a:noFill/>
                </a:ln>
                <a:solidFill>
                  <a:srgbClr val="00D7A0"/>
                </a:solidFill>
                <a:effectLst/>
                <a:uLnTx/>
                <a:uFillTx/>
                <a:latin typeface="Arial"/>
                <a:ea typeface="+mn-ea"/>
                <a:cs typeface="Times New Roman" panose="02020603050405020304" pitchFamily="18" charset="0"/>
              </a:rPr>
              <a:t>Resource efficiency</a:t>
            </a:r>
            <a:endParaRPr kumimoji="0" lang="en-US" sz="1800" b="0" i="0" u="none" strike="noStrike" kern="1200" cap="none" spc="0" normalizeH="0" baseline="0" noProof="0">
              <a:ln>
                <a:noFill/>
              </a:ln>
              <a:solidFill>
                <a:srgbClr val="00D7A0"/>
              </a:solidFill>
              <a:effectLst/>
              <a:uLnTx/>
              <a:uFillTx/>
              <a:latin typeface="Arial"/>
              <a:ea typeface="+mn-ea"/>
              <a:cs typeface="Times New Roman" panose="02020603050405020304" pitchFamily="18" charset="0"/>
            </a:endParaRPr>
          </a:p>
        </p:txBody>
      </p:sp>
      <p:sp>
        <p:nvSpPr>
          <p:cNvPr id="23" name="Rechteck 23">
            <a:extLst>
              <a:ext uri="{FF2B5EF4-FFF2-40B4-BE49-F238E27FC236}">
                <a16:creationId xmlns:a16="http://schemas.microsoft.com/office/drawing/2014/main" id="{2D892954-DF79-15AF-3DD3-12A690AF7A59}"/>
              </a:ext>
            </a:extLst>
          </p:cNvPr>
          <p:cNvSpPr>
            <a:spLocks/>
          </p:cNvSpPr>
          <p:nvPr/>
        </p:nvSpPr>
        <p:spPr>
          <a:xfrm>
            <a:off x="958998" y="3857450"/>
            <a:ext cx="2679388" cy="9848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p>
            <a:pPr marL="0" marR="0" lvl="1" indent="0" algn="ctr" defTabSz="914400" rtl="0" eaLnBrk="1" fontAlgn="auto" latinLnBrk="0" hangingPunct="1">
              <a:lnSpc>
                <a:spcPct val="100000"/>
              </a:lnSpc>
              <a:spcBef>
                <a:spcPts val="0"/>
              </a:spcBef>
              <a:spcAft>
                <a:spcPts val="0"/>
              </a:spcAft>
              <a:buClrTx/>
              <a:buSzPts val="1000"/>
              <a:buFontTx/>
              <a:buNone/>
              <a:tabLst>
                <a:tab pos="914400" algn="l"/>
              </a:tabLst>
              <a:defRPr/>
            </a:pPr>
            <a:r>
              <a:rPr kumimoji="0" lang="en-US" sz="1800" b="0" i="0" u="none" strike="noStrike" kern="1200" cap="none" spc="0" normalizeH="0" baseline="0" noProof="0">
                <a:ln>
                  <a:noFill/>
                </a:ln>
                <a:solidFill>
                  <a:prstClr val="white"/>
                </a:solidFill>
                <a:effectLst/>
                <a:uLnTx/>
                <a:uFillTx/>
                <a:latin typeface="Arial"/>
                <a:ea typeface="+mn-ea"/>
                <a:cs typeface="Times New Roman" panose="02020603050405020304" pitchFamily="18" charset="0"/>
              </a:rPr>
              <a:t>of global CO</a:t>
            </a:r>
            <a:r>
              <a:rPr kumimoji="0" lang="en-US" sz="1800" b="0" i="0" u="none" strike="noStrike" kern="1200" cap="none" spc="0" normalizeH="0" baseline="-25000" noProof="0">
                <a:ln>
                  <a:noFill/>
                </a:ln>
                <a:solidFill>
                  <a:prstClr val="white"/>
                </a:solidFill>
                <a:effectLst/>
                <a:uLnTx/>
                <a:uFillTx/>
                <a:latin typeface="Arial"/>
                <a:ea typeface="+mn-ea"/>
                <a:cs typeface="Times New Roman" panose="02020603050405020304" pitchFamily="18" charset="0"/>
              </a:rPr>
              <a:t>2</a:t>
            </a:r>
            <a:r>
              <a:rPr kumimoji="0" lang="en-US" sz="1800" b="0" i="0" u="none" strike="noStrike" kern="1200" cap="none" spc="0" normalizeH="0" baseline="0" noProof="0">
                <a:ln>
                  <a:noFill/>
                </a:ln>
                <a:solidFill>
                  <a:prstClr val="white"/>
                </a:solidFill>
                <a:effectLst/>
                <a:uLnTx/>
                <a:uFillTx/>
                <a:latin typeface="Arial"/>
                <a:ea typeface="+mn-ea"/>
                <a:cs typeface="Times New Roman" panose="02020603050405020304" pitchFamily="18" charset="0"/>
              </a:rPr>
              <a:t> emissions come from industry</a:t>
            </a:r>
          </a:p>
          <a:p>
            <a:pPr marL="0" marR="0" lvl="1" indent="0" algn="ctr" defTabSz="914400" rtl="0" eaLnBrk="1" fontAlgn="auto" latinLnBrk="0" hangingPunct="1">
              <a:lnSpc>
                <a:spcPct val="100000"/>
              </a:lnSpc>
              <a:spcBef>
                <a:spcPts val="0"/>
              </a:spcBef>
              <a:spcAft>
                <a:spcPts val="0"/>
              </a:spcAft>
              <a:buClrTx/>
              <a:buSzPts val="1000"/>
              <a:buFontTx/>
              <a:buNone/>
              <a:tabLst>
                <a:tab pos="914400" algn="l"/>
              </a:tabLst>
              <a:defRPr/>
            </a:pPr>
            <a:br>
              <a:rPr kumimoji="0" lang="en-US" sz="1800" b="0" i="0" u="none" strike="noStrike" kern="1200" cap="none" spc="0" normalizeH="0" baseline="0" noProof="0">
                <a:ln>
                  <a:noFill/>
                </a:ln>
                <a:solidFill>
                  <a:prstClr val="white"/>
                </a:solidFill>
                <a:effectLst/>
                <a:uLnTx/>
                <a:uFillTx/>
                <a:latin typeface="Arial"/>
                <a:ea typeface="+mn-ea"/>
                <a:cs typeface="Times New Roman" panose="02020603050405020304" pitchFamily="18" charset="0"/>
              </a:rPr>
            </a:br>
            <a:r>
              <a:rPr kumimoji="0" lang="en-US" sz="1000" b="0" i="0" u="none" strike="noStrike" kern="1200" cap="none" spc="0" normalizeH="0" baseline="0" noProof="0">
                <a:ln>
                  <a:noFill/>
                </a:ln>
                <a:solidFill>
                  <a:prstClr val="white"/>
                </a:solidFill>
                <a:effectLst/>
                <a:uLnTx/>
                <a:uFillTx/>
                <a:latin typeface="Arial"/>
                <a:ea typeface="+mn-ea"/>
                <a:cs typeface="Times New Roman" panose="02020603050405020304" pitchFamily="18" charset="0"/>
              </a:rPr>
              <a:t>(</a:t>
            </a:r>
            <a:r>
              <a:rPr kumimoji="0" lang="en-US" sz="1000" b="0" i="0" u="none" strike="noStrike" kern="1200" cap="none" spc="0" normalizeH="0" baseline="0" noProof="0">
                <a:ln>
                  <a:noFill/>
                </a:ln>
                <a:solidFill>
                  <a:srgbClr val="FFFFFF"/>
                </a:solidFill>
                <a:effectLst/>
                <a:uLnTx/>
                <a:uFillTx/>
                <a:latin typeface="Arial"/>
                <a:ea typeface="+mn-ea"/>
                <a:cs typeface="Times New Roman" panose="02020603050405020304" pitchFamily="18" charset="0"/>
              </a:rPr>
              <a:t>Source: </a:t>
            </a:r>
            <a:r>
              <a:rPr kumimoji="0" lang="en-US" sz="1000" b="0" i="0" u="none" strike="noStrike" kern="1200" cap="none" spc="0" normalizeH="0" baseline="0" noProof="0">
                <a:ln>
                  <a:noFill/>
                </a:ln>
                <a:solidFill>
                  <a:srgbClr val="FFFFFF"/>
                </a:solidFill>
                <a:effectLst/>
                <a:uLnTx/>
                <a:uFillTx/>
                <a:latin typeface="Arial"/>
                <a:ea typeface="+mn-ea"/>
                <a:cs typeface="Times New Roman" panose="02020603050405020304" pitchFamily="18" charset="0"/>
                <a:hlinkClick r:id="rId4">
                  <a:extLst>
                    <a:ext uri="{A12FA001-AC4F-418D-AE19-62706E023703}">
                      <ahyp:hlinkClr xmlns:ahyp="http://schemas.microsoft.com/office/drawing/2018/hyperlinkcolor" val="tx"/>
                    </a:ext>
                  </a:extLst>
                </a:hlinkClick>
              </a:rPr>
              <a:t>McKinsey</a:t>
            </a:r>
            <a:r>
              <a:rPr kumimoji="0" lang="en-US" sz="1000" b="0" i="0" u="none" strike="noStrike" kern="1200" cap="none" spc="0" normalizeH="0" baseline="0" noProof="0">
                <a:ln>
                  <a:noFill/>
                </a:ln>
                <a:solidFill>
                  <a:prstClr val="white"/>
                </a:solidFill>
                <a:effectLst/>
                <a:uLnTx/>
                <a:uFillTx/>
                <a:latin typeface="Arial"/>
                <a:ea typeface="+mn-ea"/>
                <a:cs typeface="Times New Roman" panose="02020603050405020304" pitchFamily="18" charset="0"/>
              </a:rPr>
              <a:t>)</a:t>
            </a:r>
            <a:endParaRPr kumimoji="0" lang="en-US" sz="1000" b="0" i="0" u="none" strike="noStrike" kern="1200" cap="none" spc="0" normalizeH="0" baseline="0" noProof="0">
              <a:ln>
                <a:noFill/>
              </a:ln>
              <a:solidFill>
                <a:prstClr val="white"/>
              </a:solidFill>
              <a:effectLst/>
              <a:uLnTx/>
              <a:uFillTx/>
              <a:latin typeface="Arial"/>
              <a:ea typeface="Times New Roman" panose="02020603050405020304" pitchFamily="18" charset="0"/>
              <a:cs typeface="Times New Roman" panose="02020603050405020304" pitchFamily="18" charset="0"/>
            </a:endParaRPr>
          </a:p>
        </p:txBody>
      </p:sp>
      <p:sp>
        <p:nvSpPr>
          <p:cNvPr id="24" name="Rechteck 24">
            <a:extLst>
              <a:ext uri="{FF2B5EF4-FFF2-40B4-BE49-F238E27FC236}">
                <a16:creationId xmlns:a16="http://schemas.microsoft.com/office/drawing/2014/main" id="{B7D05E81-9A1C-771A-D107-FFFD041A74D8}"/>
              </a:ext>
            </a:extLst>
          </p:cNvPr>
          <p:cNvSpPr>
            <a:spLocks/>
          </p:cNvSpPr>
          <p:nvPr/>
        </p:nvSpPr>
        <p:spPr>
          <a:xfrm>
            <a:off x="4762051" y="3857450"/>
            <a:ext cx="2679388" cy="9848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p>
            <a:pPr marL="0" marR="0" lvl="1" indent="0" algn="ctr" defTabSz="914400" rtl="0" eaLnBrk="1" fontAlgn="auto" latinLnBrk="0" hangingPunct="1">
              <a:lnSpc>
                <a:spcPct val="100000"/>
              </a:lnSpc>
              <a:spcBef>
                <a:spcPts val="0"/>
              </a:spcBef>
              <a:spcAft>
                <a:spcPts val="0"/>
              </a:spcAft>
              <a:buClrTx/>
              <a:buSzPts val="1000"/>
              <a:buFontTx/>
              <a:buNone/>
              <a:tabLst>
                <a:tab pos="914400" algn="l"/>
              </a:tabLst>
              <a:defRPr/>
            </a:pPr>
            <a:r>
              <a:rPr kumimoji="0" lang="en-US" sz="1800" b="0" i="0" u="none" strike="noStrike" kern="1200" cap="none" spc="0" normalizeH="0" baseline="0" noProof="0">
                <a:ln>
                  <a:noFill/>
                </a:ln>
                <a:solidFill>
                  <a:prstClr val="white"/>
                </a:solidFill>
                <a:effectLst/>
                <a:uLnTx/>
                <a:uFillTx/>
                <a:latin typeface="Arial"/>
                <a:ea typeface="+mn-ea"/>
                <a:cs typeface="Times New Roman"/>
              </a:rPr>
              <a:t>of the global energy is consumed by industries</a:t>
            </a:r>
          </a:p>
          <a:p>
            <a:pPr marL="0" marR="0" lvl="1" indent="0" algn="ctr" defTabSz="914400" rtl="0" eaLnBrk="1" fontAlgn="auto" latinLnBrk="0" hangingPunct="1">
              <a:lnSpc>
                <a:spcPct val="100000"/>
              </a:lnSpc>
              <a:spcBef>
                <a:spcPts val="0"/>
              </a:spcBef>
              <a:spcAft>
                <a:spcPts val="0"/>
              </a:spcAft>
              <a:buClrTx/>
              <a:buSzPts val="1000"/>
              <a:buFontTx/>
              <a:buNone/>
              <a:tabLst>
                <a:tab pos="914400" algn="l"/>
              </a:tabLst>
              <a:defRPr/>
            </a:pPr>
            <a:br>
              <a:rPr kumimoji="0" lang="en-US" sz="1800" b="0" i="0" u="none" strike="noStrike" kern="1200" cap="none" spc="0" normalizeH="0" baseline="0" noProof="0">
                <a:ln>
                  <a:noFill/>
                </a:ln>
                <a:solidFill>
                  <a:prstClr val="white"/>
                </a:solidFill>
                <a:effectLst/>
                <a:uLnTx/>
                <a:uFillTx/>
                <a:latin typeface="Arial"/>
                <a:ea typeface="+mn-ea"/>
                <a:cs typeface="Times New Roman" panose="02020603050405020304" pitchFamily="18" charset="0"/>
              </a:rPr>
            </a:br>
            <a:r>
              <a:rPr kumimoji="0" lang="en-US" sz="1000" b="0" i="0" u="none" strike="noStrike" kern="1200" cap="none" spc="0" normalizeH="0" baseline="0" noProof="0">
                <a:ln>
                  <a:noFill/>
                </a:ln>
                <a:solidFill>
                  <a:prstClr val="white"/>
                </a:solidFill>
                <a:effectLst/>
                <a:uLnTx/>
                <a:uFillTx/>
                <a:latin typeface="Arial"/>
                <a:ea typeface="+mn-ea"/>
                <a:cs typeface="Times New Roman"/>
              </a:rPr>
              <a:t>(Source: </a:t>
            </a:r>
            <a:r>
              <a:rPr kumimoji="0" lang="en-US" sz="1000" b="0" i="0" u="none" strike="noStrike" kern="1200" cap="none" spc="0" normalizeH="0" baseline="0" noProof="0">
                <a:ln>
                  <a:noFill/>
                </a:ln>
                <a:solidFill>
                  <a:prstClr val="white"/>
                </a:solidFill>
                <a:effectLst/>
                <a:uLnTx/>
                <a:uFillTx/>
                <a:latin typeface="Arial"/>
                <a:ea typeface="+mn-ea"/>
                <a:cs typeface="Times New Roman"/>
                <a:hlinkClick r:id="rId5">
                  <a:extLst>
                    <a:ext uri="{A12FA001-AC4F-418D-AE19-62706E023703}">
                      <ahyp:hlinkClr xmlns:ahyp="http://schemas.microsoft.com/office/drawing/2018/hyperlinkcolor" val="tx"/>
                    </a:ext>
                  </a:extLst>
                </a:hlinkClick>
              </a:rPr>
              <a:t>IEA</a:t>
            </a:r>
            <a:r>
              <a:rPr kumimoji="0" lang="en-US" sz="1000" b="0" i="0" u="none" strike="noStrike" kern="1200" cap="none" spc="0" normalizeH="0" baseline="0" noProof="0">
                <a:ln>
                  <a:noFill/>
                </a:ln>
                <a:solidFill>
                  <a:prstClr val="white"/>
                </a:solidFill>
                <a:effectLst/>
                <a:uLnTx/>
                <a:uFillTx/>
                <a:latin typeface="Arial"/>
                <a:ea typeface="+mn-ea"/>
                <a:cs typeface="Times New Roman"/>
              </a:rPr>
              <a:t>)</a:t>
            </a:r>
            <a:endParaRPr kumimoji="0" lang="en-US" sz="1000" b="0" i="0" u="none" strike="noStrike" kern="1200" cap="none" spc="0" normalizeH="0" baseline="0" noProof="0">
              <a:ln>
                <a:noFill/>
              </a:ln>
              <a:solidFill>
                <a:prstClr val="white"/>
              </a:solidFill>
              <a:effectLst/>
              <a:uLnTx/>
              <a:uFillTx/>
              <a:latin typeface="Arial"/>
              <a:ea typeface="Times New Roman" panose="02020603050405020304" pitchFamily="18" charset="0"/>
              <a:cs typeface="Times New Roman"/>
            </a:endParaRPr>
          </a:p>
        </p:txBody>
      </p:sp>
      <p:sp>
        <p:nvSpPr>
          <p:cNvPr id="26" name="Rechteck 25">
            <a:extLst>
              <a:ext uri="{FF2B5EF4-FFF2-40B4-BE49-F238E27FC236}">
                <a16:creationId xmlns:a16="http://schemas.microsoft.com/office/drawing/2014/main" id="{9E5EB264-E702-A29E-8B60-B784F2EE229F}"/>
              </a:ext>
            </a:extLst>
          </p:cNvPr>
          <p:cNvSpPr>
            <a:spLocks/>
          </p:cNvSpPr>
          <p:nvPr/>
        </p:nvSpPr>
        <p:spPr>
          <a:xfrm>
            <a:off x="8456878" y="3249023"/>
            <a:ext cx="75727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pPr marL="0" marR="0" lvl="1" indent="0" algn="l" defTabSz="914400" rtl="0" eaLnBrk="1" fontAlgn="auto" latinLnBrk="0" hangingPunct="1">
              <a:lnSpc>
                <a:spcPct val="100000"/>
              </a:lnSpc>
              <a:spcBef>
                <a:spcPts val="0"/>
              </a:spcBef>
              <a:spcAft>
                <a:spcPts val="0"/>
              </a:spcAft>
              <a:buClrTx/>
              <a:buSzPts val="1000"/>
              <a:buFontTx/>
              <a:buNone/>
              <a:tabLst>
                <a:tab pos="914400" algn="l"/>
              </a:tabLst>
              <a:defRPr/>
            </a:pPr>
            <a:r>
              <a:rPr kumimoji="0" lang="en-US" sz="1800" b="0" i="0" u="none" strike="noStrike" kern="1200" cap="none" spc="0" normalizeH="0" baseline="0" noProof="0">
                <a:ln>
                  <a:noFill/>
                </a:ln>
                <a:solidFill>
                  <a:prstClr val="white"/>
                </a:solidFill>
                <a:effectLst/>
                <a:uLnTx/>
                <a:uFillTx/>
                <a:latin typeface="Arial"/>
                <a:ea typeface="+mn-ea"/>
                <a:cs typeface="Times New Roman" panose="02020603050405020304" pitchFamily="18" charset="0"/>
              </a:rPr>
              <a:t>Only</a:t>
            </a:r>
            <a:endParaRPr kumimoji="0" lang="en-US" sz="1800" b="0" i="0" u="none" strike="noStrike" kern="1200" cap="none" spc="0" normalizeH="0" baseline="0" noProof="0">
              <a:ln>
                <a:noFill/>
              </a:ln>
              <a:solidFill>
                <a:prstClr val="white"/>
              </a:solidFill>
              <a:effectLst/>
              <a:uLnTx/>
              <a:uFillTx/>
              <a:latin typeface="Arial"/>
              <a:ea typeface="Calibri" panose="020F0502020204030204" pitchFamily="34" charset="0"/>
              <a:cs typeface="Times New Roman" panose="02020603050405020304" pitchFamily="18" charset="0"/>
            </a:endParaRPr>
          </a:p>
        </p:txBody>
      </p:sp>
      <p:sp>
        <p:nvSpPr>
          <p:cNvPr id="27" name="Rechteck 24">
            <a:extLst>
              <a:ext uri="{FF2B5EF4-FFF2-40B4-BE49-F238E27FC236}">
                <a16:creationId xmlns:a16="http://schemas.microsoft.com/office/drawing/2014/main" id="{BCC41536-DEB1-AEAC-F2C5-5780A62F5E04}"/>
              </a:ext>
            </a:extLst>
          </p:cNvPr>
          <p:cNvSpPr>
            <a:spLocks/>
          </p:cNvSpPr>
          <p:nvPr/>
        </p:nvSpPr>
        <p:spPr>
          <a:xfrm>
            <a:off x="8553614" y="3857450"/>
            <a:ext cx="2679388" cy="9848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p>
            <a:pPr marL="0" marR="0" lvl="1" indent="0" algn="ctr" defTabSz="914400" rtl="0" eaLnBrk="1" fontAlgn="auto" latinLnBrk="0" hangingPunct="1">
              <a:lnSpc>
                <a:spcPct val="100000"/>
              </a:lnSpc>
              <a:spcBef>
                <a:spcPts val="0"/>
              </a:spcBef>
              <a:spcAft>
                <a:spcPts val="0"/>
              </a:spcAft>
              <a:buClrTx/>
              <a:buSzPts val="1000"/>
              <a:buFontTx/>
              <a:buNone/>
              <a:tabLst>
                <a:tab pos="914400" algn="l"/>
              </a:tabLst>
              <a:defRPr/>
            </a:pPr>
            <a:r>
              <a:rPr kumimoji="0" lang="en-US" sz="1800" b="0" i="0" u="none" strike="noStrike" kern="1200" cap="none" spc="0" normalizeH="0" baseline="0" noProof="0">
                <a:ln>
                  <a:noFill/>
                </a:ln>
                <a:solidFill>
                  <a:prstClr val="white"/>
                </a:solidFill>
                <a:effectLst/>
                <a:uLnTx/>
                <a:uFillTx/>
                <a:latin typeface="Arial"/>
                <a:ea typeface="Calibri" panose="020F0502020204030204" pitchFamily="34" charset="0"/>
                <a:cs typeface="Times New Roman" panose="02020603050405020304" pitchFamily="18" charset="0"/>
              </a:rPr>
              <a:t>of all global waste </a:t>
            </a:r>
            <a:br>
              <a:rPr kumimoji="0" lang="en-US" sz="1800" b="0" i="0" u="none" strike="noStrike" kern="1200" cap="none" spc="0" normalizeH="0" baseline="0" noProof="0">
                <a:ln>
                  <a:noFill/>
                </a:ln>
                <a:solidFill>
                  <a:prstClr val="white"/>
                </a:solidFill>
                <a:effectLst/>
                <a:uLnTx/>
                <a:uFillTx/>
                <a:latin typeface="Arial"/>
                <a:ea typeface="Calibri" panose="020F0502020204030204" pitchFamily="34" charset="0"/>
                <a:cs typeface="Times New Roman" panose="02020603050405020304" pitchFamily="18" charset="0"/>
              </a:rPr>
            </a:br>
            <a:r>
              <a:rPr kumimoji="0" lang="en-US" sz="1800" b="0" i="0" u="none" strike="noStrike" kern="1200" cap="none" spc="0" normalizeH="0" baseline="0" noProof="0">
                <a:ln>
                  <a:noFill/>
                </a:ln>
                <a:solidFill>
                  <a:prstClr val="white"/>
                </a:solidFill>
                <a:effectLst/>
                <a:uLnTx/>
                <a:uFillTx/>
                <a:latin typeface="Arial"/>
                <a:ea typeface="Calibri" panose="020F0502020204030204" pitchFamily="34" charset="0"/>
                <a:cs typeface="Times New Roman" panose="02020603050405020304" pitchFamily="18" charset="0"/>
              </a:rPr>
              <a:t>is recycled</a:t>
            </a:r>
          </a:p>
          <a:p>
            <a:pPr marL="0" marR="0" lvl="1" indent="0" algn="ctr" defTabSz="914400" rtl="0" eaLnBrk="1" fontAlgn="auto" latinLnBrk="0" hangingPunct="1">
              <a:lnSpc>
                <a:spcPct val="100000"/>
              </a:lnSpc>
              <a:spcBef>
                <a:spcPts val="0"/>
              </a:spcBef>
              <a:spcAft>
                <a:spcPts val="0"/>
              </a:spcAft>
              <a:buClrTx/>
              <a:buSzPts val="1000"/>
              <a:buFontTx/>
              <a:buNone/>
              <a:tabLst>
                <a:tab pos="914400" algn="l"/>
              </a:tabLst>
              <a:defRPr/>
            </a:pPr>
            <a:br>
              <a:rPr kumimoji="0" lang="en-US" sz="1800" b="0" i="0" u="none" strike="noStrike" kern="1200" cap="none" spc="0" normalizeH="0" baseline="0" noProof="0">
                <a:ln>
                  <a:noFill/>
                </a:ln>
                <a:solidFill>
                  <a:prstClr val="white"/>
                </a:solidFill>
                <a:effectLst/>
                <a:uLnTx/>
                <a:uFillTx/>
                <a:latin typeface="Arial"/>
                <a:ea typeface="+mn-ea"/>
                <a:cs typeface="Times New Roman" panose="02020603050405020304" pitchFamily="18" charset="0"/>
              </a:rPr>
            </a:br>
            <a:r>
              <a:rPr kumimoji="0" lang="en-US" sz="1000" b="0" i="0" u="none" strike="noStrike" kern="1200" cap="none" spc="0" normalizeH="0" baseline="0" noProof="0">
                <a:ln>
                  <a:noFill/>
                </a:ln>
                <a:solidFill>
                  <a:prstClr val="white"/>
                </a:solidFill>
                <a:effectLst/>
                <a:uLnTx/>
                <a:uFillTx/>
                <a:latin typeface="Arial"/>
                <a:ea typeface="+mn-ea"/>
                <a:cs typeface="Times New Roman" panose="02020603050405020304" pitchFamily="18" charset="0"/>
              </a:rPr>
              <a:t>(Source: </a:t>
            </a:r>
            <a:r>
              <a:rPr kumimoji="0" lang="en-US" sz="1000" b="0" i="0" u="none" strike="noStrike" kern="1200" cap="none" spc="0" normalizeH="0" baseline="0" noProof="0">
                <a:ln>
                  <a:noFill/>
                </a:ln>
                <a:solidFill>
                  <a:prstClr val="white"/>
                </a:solidFill>
                <a:effectLst/>
                <a:uLnTx/>
                <a:uFillTx/>
                <a:latin typeface="Arial"/>
                <a:ea typeface="+mn-ea"/>
                <a:cs typeface="Times New Roman" panose="02020603050405020304" pitchFamily="18" charset="0"/>
                <a:hlinkClick r:id="rId6">
                  <a:extLst>
                    <a:ext uri="{A12FA001-AC4F-418D-AE19-62706E023703}">
                      <ahyp:hlinkClr xmlns:ahyp="http://schemas.microsoft.com/office/drawing/2018/hyperlinkcolor" val="tx"/>
                    </a:ext>
                  </a:extLst>
                </a:hlinkClick>
              </a:rPr>
              <a:t>Accenture</a:t>
            </a:r>
            <a:r>
              <a:rPr kumimoji="0" lang="en-US" sz="1000" b="0" i="0" u="none" strike="noStrike" kern="1200" cap="none" spc="0" normalizeH="0" baseline="0" noProof="0">
                <a:ln>
                  <a:noFill/>
                </a:ln>
                <a:solidFill>
                  <a:prstClr val="white"/>
                </a:solidFill>
                <a:effectLst/>
                <a:uLnTx/>
                <a:uFillTx/>
                <a:latin typeface="Arial"/>
                <a:ea typeface="+mn-ea"/>
                <a:cs typeface="Times New Roman" panose="02020603050405020304" pitchFamily="18" charset="0"/>
              </a:rPr>
              <a:t>) </a:t>
            </a:r>
          </a:p>
        </p:txBody>
      </p:sp>
      <p:sp>
        <p:nvSpPr>
          <p:cNvPr id="3" name="Footer Placeholder 5">
            <a:extLst>
              <a:ext uri="{FF2B5EF4-FFF2-40B4-BE49-F238E27FC236}">
                <a16:creationId xmlns:a16="http://schemas.microsoft.com/office/drawing/2014/main" id="{36054435-25D1-E44D-A22E-D97AB9FBA83C}"/>
              </a:ext>
            </a:extLst>
          </p:cNvPr>
          <p:cNvSpPr>
            <a:spLocks noGrp="1"/>
          </p:cNvSpPr>
          <p:nvPr>
            <p:ph type="ftr" sz="quarter" idx="10"/>
          </p:nvPr>
        </p:nvSpPr>
        <p:spPr>
          <a:xfrm>
            <a:off x="1059160" y="6310800"/>
            <a:ext cx="9216000" cy="547200"/>
          </a:xfrm>
        </p:spPr>
        <p:txBody>
          <a:bodyPr/>
          <a:lstStyle/>
          <a:p>
            <a:r>
              <a:rPr lang="en-US" dirty="0"/>
              <a:t>Unrestricted | © Siemens 2023 | Industrial AI</a:t>
            </a:r>
          </a:p>
        </p:txBody>
      </p:sp>
    </p:spTree>
    <p:extLst>
      <p:ext uri="{BB962C8B-B14F-4D97-AF65-F5344CB8AC3E}">
        <p14:creationId xmlns:p14="http://schemas.microsoft.com/office/powerpoint/2010/main" val="3973505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hteck 23" hidden="1">
            <a:extLst>
              <a:ext uri="{FF2B5EF4-FFF2-40B4-BE49-F238E27FC236}">
                <a16:creationId xmlns:a16="http://schemas.microsoft.com/office/drawing/2014/main" id="{D6FA9C71-5A40-40BB-B2EC-21F71C8601D5}"/>
              </a:ext>
            </a:extLst>
          </p:cNvPr>
          <p:cNvSpPr/>
          <p:nvPr/>
        </p:nvSpPr>
        <p:spPr>
          <a:xfrm>
            <a:off x="-1" y="0"/>
            <a:ext cx="12192001" cy="6858000"/>
          </a:xfrm>
          <a:prstGeom prst="rect">
            <a:avLst/>
          </a:prstGeom>
          <a:gradFill>
            <a:gsLst>
              <a:gs pos="0">
                <a:schemeClr val="bg2">
                  <a:alpha val="62000"/>
                </a:schemeClr>
              </a:gs>
              <a:gs pos="74000">
                <a:schemeClr val="bg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grpSp>
        <p:nvGrpSpPr>
          <p:cNvPr id="12" name="Gruppieren 11">
            <a:extLst>
              <a:ext uri="{FF2B5EF4-FFF2-40B4-BE49-F238E27FC236}">
                <a16:creationId xmlns:a16="http://schemas.microsoft.com/office/drawing/2014/main" id="{B767A740-26E5-4842-9632-43DEC6C86B7E}"/>
              </a:ext>
            </a:extLst>
          </p:cNvPr>
          <p:cNvGrpSpPr/>
          <p:nvPr/>
        </p:nvGrpSpPr>
        <p:grpSpPr>
          <a:xfrm>
            <a:off x="414005" y="2294509"/>
            <a:ext cx="3060000" cy="3619266"/>
            <a:chOff x="414006" y="2294509"/>
            <a:chExt cx="2903353" cy="3619266"/>
          </a:xfrm>
        </p:grpSpPr>
        <p:sp>
          <p:nvSpPr>
            <p:cNvPr id="49" name="Rechteck 6">
              <a:extLst>
                <a:ext uri="{FF2B5EF4-FFF2-40B4-BE49-F238E27FC236}">
                  <a16:creationId xmlns:a16="http://schemas.microsoft.com/office/drawing/2014/main" id="{862BBB22-CB26-4946-A521-5F3A54196D50}"/>
                </a:ext>
              </a:extLst>
            </p:cNvPr>
            <p:cNvSpPr/>
            <p:nvPr/>
          </p:nvSpPr>
          <p:spPr bwMode="gray">
            <a:xfrm>
              <a:off x="414006" y="4200083"/>
              <a:ext cx="2903353" cy="1713692"/>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r>
                <a:rPr lang="en-US" sz="2800"/>
                <a:t>Quality</a:t>
              </a:r>
            </a:p>
          </p:txBody>
        </p:sp>
        <p:sp>
          <p:nvSpPr>
            <p:cNvPr id="48" name="Rechteck 6">
              <a:extLst>
                <a:ext uri="{FF2B5EF4-FFF2-40B4-BE49-F238E27FC236}">
                  <a16:creationId xmlns:a16="http://schemas.microsoft.com/office/drawing/2014/main" id="{E6790D5D-073C-492C-99C3-DC7DE53C89BD}"/>
                </a:ext>
              </a:extLst>
            </p:cNvPr>
            <p:cNvSpPr/>
            <p:nvPr/>
          </p:nvSpPr>
          <p:spPr bwMode="gray">
            <a:xfrm>
              <a:off x="414006" y="2294509"/>
              <a:ext cx="2903353" cy="1713692"/>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r>
                <a:rPr lang="en-US" sz="2800"/>
                <a:t>Cost pressure &amp;</a:t>
              </a:r>
            </a:p>
            <a:p>
              <a:pPr algn="l"/>
              <a:r>
                <a:rPr lang="en-US" sz="2800"/>
                <a:t>efficiency</a:t>
              </a:r>
            </a:p>
          </p:txBody>
        </p:sp>
      </p:grpSp>
      <p:sp>
        <p:nvSpPr>
          <p:cNvPr id="15" name="Titel 14">
            <a:extLst>
              <a:ext uri="{FF2B5EF4-FFF2-40B4-BE49-F238E27FC236}">
                <a16:creationId xmlns:a16="http://schemas.microsoft.com/office/drawing/2014/main" id="{4AB1555B-F1FF-43C8-989B-CAC401A61082}"/>
              </a:ext>
            </a:extLst>
          </p:cNvPr>
          <p:cNvSpPr>
            <a:spLocks noGrp="1"/>
          </p:cNvSpPr>
          <p:nvPr>
            <p:ph type="title"/>
          </p:nvPr>
        </p:nvSpPr>
        <p:spPr bwMode="gray">
          <a:xfrm>
            <a:off x="410400" y="971958"/>
            <a:ext cx="11376788" cy="576000"/>
          </a:xfrm>
        </p:spPr>
        <p:txBody>
          <a:bodyPr/>
          <a:lstStyle/>
          <a:p>
            <a:r>
              <a:rPr lang="en-GB" sz="4000" dirty="0">
                <a:gradFill>
                  <a:gsLst>
                    <a:gs pos="0">
                      <a:schemeClr val="accent2"/>
                    </a:gs>
                    <a:gs pos="100000">
                      <a:schemeClr val="accent3"/>
                    </a:gs>
                  </a:gsLst>
                  <a:lin ang="0" scaled="1"/>
                </a:gradFill>
              </a:rPr>
              <a:t>Our customers’ challenges are increasing – with new ones on top of them.</a:t>
            </a:r>
            <a:endParaRPr lang="en-US" sz="4000" dirty="0">
              <a:gradFill>
                <a:gsLst>
                  <a:gs pos="0">
                    <a:schemeClr val="accent2"/>
                  </a:gs>
                  <a:gs pos="100000">
                    <a:schemeClr val="accent3"/>
                  </a:gs>
                </a:gsLst>
                <a:lin ang="0" scaled="1"/>
              </a:gradFill>
            </a:endParaRPr>
          </a:p>
        </p:txBody>
      </p:sp>
      <p:pic>
        <p:nvPicPr>
          <p:cNvPr id="35" name="Siemens Logo">
            <a:extLst>
              <a:ext uri="{FF2B5EF4-FFF2-40B4-BE49-F238E27FC236}">
                <a16:creationId xmlns:a16="http://schemas.microsoft.com/office/drawing/2014/main" id="{A36F5F72-B95D-4982-87C4-65816DBCF86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bwMode="black">
          <a:xfrm>
            <a:off x="10635188" y="6418800"/>
            <a:ext cx="1152000" cy="183168"/>
          </a:xfrm>
          <a:prstGeom prst="rect">
            <a:avLst/>
          </a:prstGeom>
        </p:spPr>
      </p:pic>
      <p:grpSp>
        <p:nvGrpSpPr>
          <p:cNvPr id="5" name="Gruppieren 4">
            <a:extLst>
              <a:ext uri="{FF2B5EF4-FFF2-40B4-BE49-F238E27FC236}">
                <a16:creationId xmlns:a16="http://schemas.microsoft.com/office/drawing/2014/main" id="{5A8B40C7-B089-48D2-A2BA-591E1A7BE6D0}"/>
              </a:ext>
            </a:extLst>
          </p:cNvPr>
          <p:cNvGrpSpPr/>
          <p:nvPr/>
        </p:nvGrpSpPr>
        <p:grpSpPr>
          <a:xfrm>
            <a:off x="8740202" y="2294509"/>
            <a:ext cx="3060000" cy="1713692"/>
            <a:chOff x="8740202" y="3247296"/>
            <a:chExt cx="3060000" cy="1713692"/>
          </a:xfrm>
        </p:grpSpPr>
        <p:sp>
          <p:nvSpPr>
            <p:cNvPr id="37" name="Rechteck 6">
              <a:extLst>
                <a:ext uri="{FF2B5EF4-FFF2-40B4-BE49-F238E27FC236}">
                  <a16:creationId xmlns:a16="http://schemas.microsoft.com/office/drawing/2014/main" id="{E594B2CF-52D9-4455-A904-F9386D2E8116}"/>
                </a:ext>
              </a:extLst>
            </p:cNvPr>
            <p:cNvSpPr/>
            <p:nvPr/>
          </p:nvSpPr>
          <p:spPr bwMode="gray">
            <a:xfrm>
              <a:off x="8740202" y="3247296"/>
              <a:ext cx="3060000" cy="1713692"/>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marL="0" marR="0" lvl="1" indent="0" algn="l" defTabSz="914400" rtl="0" eaLnBrk="1" fontAlgn="auto" latinLnBrk="0" hangingPunct="1">
                <a:lnSpc>
                  <a:spcPct val="100000"/>
                </a:lnSpc>
                <a:spcBef>
                  <a:spcPts val="1500"/>
                </a:spcBef>
                <a:spcAft>
                  <a:spcPct val="0"/>
                </a:spcAft>
                <a:buClr>
                  <a:prstClr val="white"/>
                </a:buClr>
                <a:buSzTx/>
                <a:buNone/>
                <a:tabLst/>
                <a:defRPr/>
              </a:pPr>
              <a:r>
                <a:rPr kumimoji="0" lang="en-US" sz="2800" b="0" i="0" u="none" strike="noStrike" kern="1200" cap="none" spc="0" normalizeH="0" baseline="0" noProof="0" dirty="0">
                  <a:ln>
                    <a:noFill/>
                  </a:ln>
                  <a:solidFill>
                    <a:prstClr val="white"/>
                  </a:solidFill>
                  <a:effectLst/>
                  <a:uLnTx/>
                  <a:uFillTx/>
                  <a:latin typeface="Arial"/>
                  <a:ea typeface="+mn-ea"/>
                  <a:cs typeface="+mn-cs"/>
                </a:rPr>
                <a:t>Sustainability</a:t>
              </a:r>
            </a:p>
          </p:txBody>
        </p:sp>
        <p:sp>
          <p:nvSpPr>
            <p:cNvPr id="67" name="Freihandform: Form 66">
              <a:extLst>
                <a:ext uri="{FF2B5EF4-FFF2-40B4-BE49-F238E27FC236}">
                  <a16:creationId xmlns:a16="http://schemas.microsoft.com/office/drawing/2014/main" id="{DF6B7ECC-1089-4C91-8640-04657829C7CF}"/>
                </a:ext>
              </a:extLst>
            </p:cNvPr>
            <p:cNvSpPr/>
            <p:nvPr/>
          </p:nvSpPr>
          <p:spPr bwMode="gray">
            <a:xfrm>
              <a:off x="9824518" y="3928289"/>
              <a:ext cx="891368" cy="737056"/>
            </a:xfrm>
            <a:custGeom>
              <a:avLst/>
              <a:gdLst>
                <a:gd name="connsiteX0" fmla="*/ 818866 w 936698"/>
                <a:gd name="connsiteY0" fmla="*/ 473789 h 774537"/>
                <a:gd name="connsiteX1" fmla="*/ 936698 w 936698"/>
                <a:gd name="connsiteY1" fmla="*/ 517110 h 774537"/>
                <a:gd name="connsiteX2" fmla="*/ 842803 w 936698"/>
                <a:gd name="connsiteY2" fmla="*/ 774537 h 774537"/>
                <a:gd name="connsiteX3" fmla="*/ 724930 w 936698"/>
                <a:gd name="connsiteY3" fmla="*/ 731216 h 774537"/>
                <a:gd name="connsiteX4" fmla="*/ 598714 w 936698"/>
                <a:gd name="connsiteY4" fmla="*/ 388397 h 774537"/>
                <a:gd name="connsiteX5" fmla="*/ 768291 w 936698"/>
                <a:gd name="connsiteY5" fmla="*/ 479512 h 774537"/>
                <a:gd name="connsiteX6" fmla="*/ 690434 w 936698"/>
                <a:gd name="connsiteY6" fmla="*/ 694061 h 774537"/>
                <a:gd name="connsiteX7" fmla="*/ 605364 w 936698"/>
                <a:gd name="connsiteY7" fmla="*/ 662628 h 774537"/>
                <a:gd name="connsiteX8" fmla="*/ 226437 w 936698"/>
                <a:gd name="connsiteY8" fmla="*/ 635870 h 774537"/>
                <a:gd name="connsiteX9" fmla="*/ 0 w 936698"/>
                <a:gd name="connsiteY9" fmla="*/ 525452 h 774537"/>
                <a:gd name="connsiteX10" fmla="*/ 45295 w 936698"/>
                <a:gd name="connsiteY10" fmla="*/ 491198 h 774537"/>
                <a:gd name="connsiteX11" fmla="*/ 271732 w 936698"/>
                <a:gd name="connsiteY11" fmla="*/ 559746 h 774537"/>
                <a:gd name="connsiteX12" fmla="*/ 475482 w 936698"/>
                <a:gd name="connsiteY12" fmla="*/ 559746 h 774537"/>
                <a:gd name="connsiteX13" fmla="*/ 509453 w 936698"/>
                <a:gd name="connsiteY13" fmla="*/ 494100 h 774537"/>
                <a:gd name="connsiteX14" fmla="*/ 305664 w 936698"/>
                <a:gd name="connsiteY14" fmla="*/ 479754 h 774537"/>
                <a:gd name="connsiteX15" fmla="*/ 255734 w 936698"/>
                <a:gd name="connsiteY15" fmla="*/ 412576 h 774537"/>
                <a:gd name="connsiteX16" fmla="*/ 434136 w 936698"/>
                <a:gd name="connsiteY16" fmla="*/ 0 h 774537"/>
                <a:gd name="connsiteX17" fmla="*/ 502684 w 936698"/>
                <a:gd name="connsiteY17" fmla="*/ 134557 h 774537"/>
                <a:gd name="connsiteX18" fmla="*/ 451384 w 936698"/>
                <a:gd name="connsiteY18" fmla="*/ 203266 h 774537"/>
                <a:gd name="connsiteX19" fmla="*/ 455374 w 936698"/>
                <a:gd name="connsiteY19" fmla="*/ 317874 h 774537"/>
                <a:gd name="connsiteX20" fmla="*/ 511711 w 936698"/>
                <a:gd name="connsiteY20" fmla="*/ 265325 h 774537"/>
                <a:gd name="connsiteX21" fmla="*/ 522591 w 936698"/>
                <a:gd name="connsiteY21" fmla="*/ 214146 h 774537"/>
                <a:gd name="connsiteX22" fmla="*/ 618340 w 936698"/>
                <a:gd name="connsiteY22" fmla="*/ 183036 h 774537"/>
                <a:gd name="connsiteX23" fmla="*/ 587230 w 936698"/>
                <a:gd name="connsiteY23" fmla="*/ 278785 h 774537"/>
                <a:gd name="connsiteX24" fmla="*/ 536051 w 936698"/>
                <a:gd name="connsiteY24" fmla="*/ 289665 h 774537"/>
                <a:gd name="connsiteX25" fmla="*/ 478505 w 936698"/>
                <a:gd name="connsiteY25" fmla="*/ 351362 h 774537"/>
                <a:gd name="connsiteX26" fmla="*/ 395127 w 936698"/>
                <a:gd name="connsiteY26" fmla="*/ 357206 h 774537"/>
                <a:gd name="connsiteX27" fmla="*/ 332141 w 936698"/>
                <a:gd name="connsiteY27" fmla="*/ 289665 h 774537"/>
                <a:gd name="connsiteX28" fmla="*/ 281042 w 936698"/>
                <a:gd name="connsiteY28" fmla="*/ 278785 h 774537"/>
                <a:gd name="connsiteX29" fmla="*/ 249932 w 936698"/>
                <a:gd name="connsiteY29" fmla="*/ 183036 h 774537"/>
                <a:gd name="connsiteX30" fmla="*/ 345681 w 936698"/>
                <a:gd name="connsiteY30" fmla="*/ 214146 h 774537"/>
                <a:gd name="connsiteX31" fmla="*/ 356562 w 936698"/>
                <a:gd name="connsiteY31" fmla="*/ 265325 h 774537"/>
                <a:gd name="connsiteX32" fmla="*/ 412899 w 936698"/>
                <a:gd name="connsiteY32" fmla="*/ 317874 h 774537"/>
                <a:gd name="connsiteX33" fmla="*/ 416888 w 936698"/>
                <a:gd name="connsiteY33" fmla="*/ 203266 h 774537"/>
                <a:gd name="connsiteX34" fmla="*/ 365588 w 936698"/>
                <a:gd name="connsiteY34" fmla="*/ 134557 h 774537"/>
                <a:gd name="connsiteX35" fmla="*/ 434136 w 936698"/>
                <a:gd name="connsiteY35" fmla="*/ 0 h 77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36698" h="774537">
                  <a:moveTo>
                    <a:pt x="818866" y="473789"/>
                  </a:moveTo>
                  <a:lnTo>
                    <a:pt x="936698" y="517110"/>
                  </a:lnTo>
                  <a:lnTo>
                    <a:pt x="842803" y="774537"/>
                  </a:lnTo>
                  <a:lnTo>
                    <a:pt x="724930" y="731216"/>
                  </a:lnTo>
                  <a:close/>
                  <a:moveTo>
                    <a:pt x="598714" y="388397"/>
                  </a:moveTo>
                  <a:lnTo>
                    <a:pt x="768291" y="479512"/>
                  </a:lnTo>
                  <a:lnTo>
                    <a:pt x="690434" y="694061"/>
                  </a:lnTo>
                  <a:lnTo>
                    <a:pt x="605364" y="662628"/>
                  </a:lnTo>
                  <a:lnTo>
                    <a:pt x="226437" y="635870"/>
                  </a:lnTo>
                  <a:lnTo>
                    <a:pt x="0" y="525452"/>
                  </a:lnTo>
                  <a:lnTo>
                    <a:pt x="45295" y="491198"/>
                  </a:lnTo>
                  <a:lnTo>
                    <a:pt x="271732" y="559746"/>
                  </a:lnTo>
                  <a:lnTo>
                    <a:pt x="475482" y="559746"/>
                  </a:lnTo>
                  <a:lnTo>
                    <a:pt x="509453" y="494100"/>
                  </a:lnTo>
                  <a:lnTo>
                    <a:pt x="305664" y="479754"/>
                  </a:lnTo>
                  <a:lnTo>
                    <a:pt x="255734" y="412576"/>
                  </a:lnTo>
                  <a:close/>
                  <a:moveTo>
                    <a:pt x="434136" y="0"/>
                  </a:moveTo>
                  <a:cubicBezTo>
                    <a:pt x="434136" y="0"/>
                    <a:pt x="502684" y="57304"/>
                    <a:pt x="502684" y="134557"/>
                  </a:cubicBezTo>
                  <a:cubicBezTo>
                    <a:pt x="502684" y="167601"/>
                    <a:pt x="480882" y="195327"/>
                    <a:pt x="451384" y="203266"/>
                  </a:cubicBezTo>
                  <a:lnTo>
                    <a:pt x="455374" y="317874"/>
                  </a:lnTo>
                  <a:lnTo>
                    <a:pt x="511711" y="265325"/>
                  </a:lnTo>
                  <a:cubicBezTo>
                    <a:pt x="504900" y="248521"/>
                    <a:pt x="508567" y="228170"/>
                    <a:pt x="522591" y="214146"/>
                  </a:cubicBezTo>
                  <a:cubicBezTo>
                    <a:pt x="559021" y="177757"/>
                    <a:pt x="618340" y="183036"/>
                    <a:pt x="618340" y="183036"/>
                  </a:cubicBezTo>
                  <a:cubicBezTo>
                    <a:pt x="618340" y="183036"/>
                    <a:pt x="623660" y="242355"/>
                    <a:pt x="587230" y="278785"/>
                  </a:cubicBezTo>
                  <a:cubicBezTo>
                    <a:pt x="573166" y="292809"/>
                    <a:pt x="552855" y="296476"/>
                    <a:pt x="536051" y="289665"/>
                  </a:cubicBezTo>
                  <a:lnTo>
                    <a:pt x="478505" y="351362"/>
                  </a:lnTo>
                  <a:lnTo>
                    <a:pt x="395127" y="357206"/>
                  </a:lnTo>
                  <a:lnTo>
                    <a:pt x="332141" y="289665"/>
                  </a:lnTo>
                  <a:cubicBezTo>
                    <a:pt x="315336" y="296476"/>
                    <a:pt x="295026" y="292809"/>
                    <a:pt x="281042" y="278785"/>
                  </a:cubicBezTo>
                  <a:cubicBezTo>
                    <a:pt x="244653" y="242355"/>
                    <a:pt x="249932" y="183036"/>
                    <a:pt x="249932" y="183036"/>
                  </a:cubicBezTo>
                  <a:cubicBezTo>
                    <a:pt x="249932" y="183036"/>
                    <a:pt x="309251" y="177716"/>
                    <a:pt x="345681" y="214146"/>
                  </a:cubicBezTo>
                  <a:cubicBezTo>
                    <a:pt x="359705" y="228210"/>
                    <a:pt x="363372" y="248521"/>
                    <a:pt x="356562" y="265325"/>
                  </a:cubicBezTo>
                  <a:lnTo>
                    <a:pt x="412899" y="317874"/>
                  </a:lnTo>
                  <a:lnTo>
                    <a:pt x="416888" y="203266"/>
                  </a:lnTo>
                  <a:cubicBezTo>
                    <a:pt x="387390" y="195327"/>
                    <a:pt x="365588" y="167601"/>
                    <a:pt x="365588" y="134557"/>
                  </a:cubicBezTo>
                  <a:cubicBezTo>
                    <a:pt x="365588" y="57304"/>
                    <a:pt x="434136" y="0"/>
                    <a:pt x="434136" y="0"/>
                  </a:cubicBezTo>
                  <a:close/>
                </a:path>
              </a:pathLst>
            </a:custGeom>
            <a:solidFill>
              <a:srgbClr val="00FFB9"/>
            </a:solidFill>
            <a:ln w="4028" cap="flat">
              <a:noFill/>
              <a:prstDash val="solid"/>
              <a:miter/>
            </a:ln>
          </p:spPr>
          <p:txBody>
            <a:bodyPr rtlCol="0" anchor="ctr"/>
            <a:lstStyle/>
            <a:p>
              <a:endParaRPr lang="en-US" sz="2000"/>
            </a:p>
          </p:txBody>
        </p:sp>
      </p:grpSp>
      <p:grpSp>
        <p:nvGrpSpPr>
          <p:cNvPr id="2" name="Gruppieren 1">
            <a:extLst>
              <a:ext uri="{FF2B5EF4-FFF2-40B4-BE49-F238E27FC236}">
                <a16:creationId xmlns:a16="http://schemas.microsoft.com/office/drawing/2014/main" id="{7AE2F328-CFA5-4CA5-92F1-AC20ED8074F0}"/>
              </a:ext>
            </a:extLst>
          </p:cNvPr>
          <p:cNvGrpSpPr/>
          <p:nvPr/>
        </p:nvGrpSpPr>
        <p:grpSpPr>
          <a:xfrm>
            <a:off x="3659149" y="2294509"/>
            <a:ext cx="3060000" cy="1713692"/>
            <a:chOff x="3659149" y="3247296"/>
            <a:chExt cx="3060000" cy="1713692"/>
          </a:xfrm>
        </p:grpSpPr>
        <p:sp>
          <p:nvSpPr>
            <p:cNvPr id="50" name="Rechteck 6">
              <a:extLst>
                <a:ext uri="{FF2B5EF4-FFF2-40B4-BE49-F238E27FC236}">
                  <a16:creationId xmlns:a16="http://schemas.microsoft.com/office/drawing/2014/main" id="{2ABE2B71-413F-4A26-A4E4-D4418BE338DF}"/>
                </a:ext>
              </a:extLst>
            </p:cNvPr>
            <p:cNvSpPr/>
            <p:nvPr/>
          </p:nvSpPr>
          <p:spPr bwMode="gray">
            <a:xfrm>
              <a:off x="3659149" y="3247296"/>
              <a:ext cx="3060000" cy="1713692"/>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r>
                <a:rPr lang="en-US" sz="2800"/>
                <a:t>Faster innovation cycles</a:t>
              </a:r>
            </a:p>
          </p:txBody>
        </p:sp>
        <p:sp>
          <p:nvSpPr>
            <p:cNvPr id="68" name="Freihandform: Form 67">
              <a:extLst>
                <a:ext uri="{FF2B5EF4-FFF2-40B4-BE49-F238E27FC236}">
                  <a16:creationId xmlns:a16="http://schemas.microsoft.com/office/drawing/2014/main" id="{0713802C-6DF8-4646-8E17-C79831BF0BC0}"/>
                </a:ext>
              </a:extLst>
            </p:cNvPr>
            <p:cNvSpPr/>
            <p:nvPr/>
          </p:nvSpPr>
          <p:spPr bwMode="gray">
            <a:xfrm>
              <a:off x="4752604" y="4158177"/>
              <a:ext cx="873090" cy="436561"/>
            </a:xfrm>
            <a:custGeom>
              <a:avLst/>
              <a:gdLst>
                <a:gd name="connsiteX0" fmla="*/ 448659 w 714811"/>
                <a:gd name="connsiteY0" fmla="*/ 146691 h 357419"/>
                <a:gd name="connsiteX1" fmla="*/ 385857 w 714811"/>
                <a:gd name="connsiteY1" fmla="*/ 309291 h 357419"/>
                <a:gd name="connsiteX2" fmla="*/ 403026 w 714811"/>
                <a:gd name="connsiteY2" fmla="*/ 357419 h 357419"/>
                <a:gd name="connsiteX3" fmla="*/ 250942 w 714811"/>
                <a:gd name="connsiteY3" fmla="*/ 357419 h 357419"/>
                <a:gd name="connsiteX4" fmla="*/ 326997 w 714811"/>
                <a:gd name="connsiteY4" fmla="*/ 281364 h 357419"/>
                <a:gd name="connsiteX5" fmla="*/ 339257 w 714811"/>
                <a:gd name="connsiteY5" fmla="*/ 282357 h 357419"/>
                <a:gd name="connsiteX6" fmla="*/ 448659 w 714811"/>
                <a:gd name="connsiteY6" fmla="*/ 146691 h 357419"/>
                <a:gd name="connsiteX7" fmla="*/ 357419 w 714811"/>
                <a:gd name="connsiteY7" fmla="*/ 0 h 357419"/>
                <a:gd name="connsiteX8" fmla="*/ 342209 w 714811"/>
                <a:gd name="connsiteY8" fmla="*/ 349 h 357419"/>
                <a:gd name="connsiteX9" fmla="*/ 342209 w 714811"/>
                <a:gd name="connsiteY9" fmla="*/ 76458 h 357419"/>
                <a:gd name="connsiteX10" fmla="*/ 562728 w 714811"/>
                <a:gd name="connsiteY10" fmla="*/ 203753 h 357419"/>
                <a:gd name="connsiteX11" fmla="*/ 650615 w 714811"/>
                <a:gd name="connsiteY11" fmla="*/ 152996 h 357419"/>
                <a:gd name="connsiteX12" fmla="*/ 357419 w 714811"/>
                <a:gd name="connsiteY12" fmla="*/ 0 h 357419"/>
                <a:gd name="connsiteX13" fmla="*/ 666979 w 714811"/>
                <a:gd name="connsiteY13" fmla="*/ 178696 h 357419"/>
                <a:gd name="connsiteX14" fmla="*/ 577966 w 714811"/>
                <a:gd name="connsiteY14" fmla="*/ 230097 h 357419"/>
                <a:gd name="connsiteX15" fmla="*/ 608362 w 714811"/>
                <a:gd name="connsiteY15" fmla="*/ 357419 h 357419"/>
                <a:gd name="connsiteX16" fmla="*/ 714812 w 714811"/>
                <a:gd name="connsiteY16" fmla="*/ 357419 h 357419"/>
                <a:gd name="connsiteX17" fmla="*/ 666979 w 714811"/>
                <a:gd name="connsiteY17" fmla="*/ 178696 h 357419"/>
                <a:gd name="connsiteX18" fmla="*/ 311786 w 714811"/>
                <a:gd name="connsiteY18" fmla="*/ 2897 h 357419"/>
                <a:gd name="connsiteX19" fmla="*/ 0 w 714811"/>
                <a:gd name="connsiteY19" fmla="*/ 357419 h 357419"/>
                <a:gd name="connsiteX20" fmla="*/ 45633 w 714811"/>
                <a:gd name="connsiteY20" fmla="*/ 357419 h 357419"/>
                <a:gd name="connsiteX21" fmla="*/ 311786 w 714811"/>
                <a:gd name="connsiteY21" fmla="*/ 76458 h 357419"/>
                <a:gd name="connsiteX22" fmla="*/ 311786 w 714811"/>
                <a:gd name="connsiteY22" fmla="*/ 2897 h 357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14811" h="357419">
                  <a:moveTo>
                    <a:pt x="448659" y="146691"/>
                  </a:moveTo>
                  <a:lnTo>
                    <a:pt x="385857" y="309291"/>
                  </a:lnTo>
                  <a:cubicBezTo>
                    <a:pt x="396587" y="322410"/>
                    <a:pt x="403026" y="339150"/>
                    <a:pt x="403026" y="357419"/>
                  </a:cubicBezTo>
                  <a:lnTo>
                    <a:pt x="250942" y="357419"/>
                  </a:lnTo>
                  <a:cubicBezTo>
                    <a:pt x="250942" y="315435"/>
                    <a:pt x="284986" y="281364"/>
                    <a:pt x="326997" y="281364"/>
                  </a:cubicBezTo>
                  <a:cubicBezTo>
                    <a:pt x="331182" y="281364"/>
                    <a:pt x="335260" y="281713"/>
                    <a:pt x="339257" y="282357"/>
                  </a:cubicBezTo>
                  <a:lnTo>
                    <a:pt x="448659" y="146691"/>
                  </a:lnTo>
                  <a:close/>
                  <a:moveTo>
                    <a:pt x="357419" y="0"/>
                  </a:moveTo>
                  <a:cubicBezTo>
                    <a:pt x="352322" y="0"/>
                    <a:pt x="347252" y="134"/>
                    <a:pt x="342209" y="349"/>
                  </a:cubicBezTo>
                  <a:lnTo>
                    <a:pt x="342209" y="76458"/>
                  </a:lnTo>
                  <a:cubicBezTo>
                    <a:pt x="434575" y="81367"/>
                    <a:pt x="515083" y="130837"/>
                    <a:pt x="562728" y="203753"/>
                  </a:cubicBezTo>
                  <a:lnTo>
                    <a:pt x="650615" y="152996"/>
                  </a:lnTo>
                  <a:cubicBezTo>
                    <a:pt x="586014" y="60522"/>
                    <a:pt x="478786" y="0"/>
                    <a:pt x="357419" y="0"/>
                  </a:cubicBezTo>
                  <a:close/>
                  <a:moveTo>
                    <a:pt x="666979" y="178696"/>
                  </a:moveTo>
                  <a:lnTo>
                    <a:pt x="577966" y="230097"/>
                  </a:lnTo>
                  <a:cubicBezTo>
                    <a:pt x="597416" y="268326"/>
                    <a:pt x="608362" y="311599"/>
                    <a:pt x="608362" y="357419"/>
                  </a:cubicBezTo>
                  <a:lnTo>
                    <a:pt x="714812" y="357419"/>
                  </a:lnTo>
                  <a:cubicBezTo>
                    <a:pt x="714812" y="292310"/>
                    <a:pt x="697401" y="231278"/>
                    <a:pt x="666979" y="178696"/>
                  </a:cubicBezTo>
                  <a:close/>
                  <a:moveTo>
                    <a:pt x="311786" y="2897"/>
                  </a:moveTo>
                  <a:cubicBezTo>
                    <a:pt x="135934" y="25298"/>
                    <a:pt x="0" y="175477"/>
                    <a:pt x="0" y="357419"/>
                  </a:cubicBezTo>
                  <a:lnTo>
                    <a:pt x="45633" y="357419"/>
                  </a:lnTo>
                  <a:cubicBezTo>
                    <a:pt x="45633" y="207133"/>
                    <a:pt x="163459" y="84372"/>
                    <a:pt x="311786" y="76458"/>
                  </a:cubicBezTo>
                  <a:lnTo>
                    <a:pt x="311786" y="2897"/>
                  </a:lnTo>
                  <a:close/>
                </a:path>
              </a:pathLst>
            </a:custGeom>
            <a:solidFill>
              <a:srgbClr val="00FFB9"/>
            </a:solidFill>
            <a:ln w="2681" cap="flat">
              <a:noFill/>
              <a:prstDash val="solid"/>
              <a:miter/>
            </a:ln>
          </p:spPr>
          <p:txBody>
            <a:bodyPr rtlCol="0" anchor="ctr"/>
            <a:lstStyle/>
            <a:p>
              <a:endParaRPr lang="en-US" sz="2000"/>
            </a:p>
          </p:txBody>
        </p:sp>
      </p:grpSp>
      <p:sp>
        <p:nvSpPr>
          <p:cNvPr id="69" name="Freeform 62">
            <a:extLst>
              <a:ext uri="{FF2B5EF4-FFF2-40B4-BE49-F238E27FC236}">
                <a16:creationId xmlns:a16="http://schemas.microsoft.com/office/drawing/2014/main" id="{EC4BAB3F-D612-4752-A26C-6650510B5132}"/>
              </a:ext>
            </a:extLst>
          </p:cNvPr>
          <p:cNvSpPr>
            <a:spLocks noChangeAspect="1"/>
          </p:cNvSpPr>
          <p:nvPr/>
        </p:nvSpPr>
        <p:spPr bwMode="auto">
          <a:xfrm>
            <a:off x="6971725" y="3346192"/>
            <a:ext cx="1515901" cy="1515901"/>
          </a:xfrm>
          <a:custGeom>
            <a:avLst/>
            <a:gdLst>
              <a:gd name="T0" fmla="*/ 132 w 132"/>
              <a:gd name="T1" fmla="*/ 53 h 131"/>
              <a:gd name="T2" fmla="*/ 83 w 132"/>
              <a:gd name="T3" fmla="*/ 49 h 131"/>
              <a:gd name="T4" fmla="*/ 79 w 132"/>
              <a:gd name="T5" fmla="*/ 0 h 131"/>
              <a:gd name="T6" fmla="*/ 53 w 132"/>
              <a:gd name="T7" fmla="*/ 0 h 131"/>
              <a:gd name="T8" fmla="*/ 49 w 132"/>
              <a:gd name="T9" fmla="*/ 49 h 131"/>
              <a:gd name="T10" fmla="*/ 0 w 132"/>
              <a:gd name="T11" fmla="*/ 53 h 131"/>
              <a:gd name="T12" fmla="*/ 0 w 132"/>
              <a:gd name="T13" fmla="*/ 79 h 131"/>
              <a:gd name="T14" fmla="*/ 49 w 132"/>
              <a:gd name="T15" fmla="*/ 82 h 131"/>
              <a:gd name="T16" fmla="*/ 53 w 132"/>
              <a:gd name="T17" fmla="*/ 131 h 131"/>
              <a:gd name="T18" fmla="*/ 79 w 132"/>
              <a:gd name="T19" fmla="*/ 131 h 131"/>
              <a:gd name="T20" fmla="*/ 83 w 132"/>
              <a:gd name="T21" fmla="*/ 82 h 131"/>
              <a:gd name="T22" fmla="*/ 132 w 132"/>
              <a:gd name="T23" fmla="*/ 79 h 131"/>
              <a:gd name="T24" fmla="*/ 132 w 132"/>
              <a:gd name="T25" fmla="*/ 5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31">
                <a:moveTo>
                  <a:pt x="132" y="53"/>
                </a:moveTo>
                <a:lnTo>
                  <a:pt x="83" y="49"/>
                </a:lnTo>
                <a:lnTo>
                  <a:pt x="79" y="0"/>
                </a:lnTo>
                <a:lnTo>
                  <a:pt x="53" y="0"/>
                </a:lnTo>
                <a:lnTo>
                  <a:pt x="49" y="49"/>
                </a:lnTo>
                <a:lnTo>
                  <a:pt x="0" y="53"/>
                </a:lnTo>
                <a:lnTo>
                  <a:pt x="0" y="79"/>
                </a:lnTo>
                <a:lnTo>
                  <a:pt x="49" y="82"/>
                </a:lnTo>
                <a:lnTo>
                  <a:pt x="53" y="131"/>
                </a:lnTo>
                <a:lnTo>
                  <a:pt x="79" y="131"/>
                </a:lnTo>
                <a:lnTo>
                  <a:pt x="83" y="82"/>
                </a:lnTo>
                <a:lnTo>
                  <a:pt x="132" y="79"/>
                </a:lnTo>
                <a:lnTo>
                  <a:pt x="132" y="53"/>
                </a:lnTo>
                <a:close/>
              </a:path>
            </a:pathLst>
          </a:custGeom>
          <a:noFill/>
          <a:ln w="28575">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glow rad="139700">
              <a:srgbClr val="00FFB9">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lIns="107969" tIns="71980" rIns="107969" bIns="71980" rtlCol="0" anchor="t" anchorCtr="0"/>
          <a:lstStyle/>
          <a:p>
            <a:endParaRPr lang="en-US" sz="1799">
              <a:solidFill>
                <a:schemeClr val="lt1"/>
              </a:solidFill>
            </a:endParaRPr>
          </a:p>
        </p:txBody>
      </p:sp>
      <p:sp>
        <p:nvSpPr>
          <p:cNvPr id="70" name="Freeform: Shape 93">
            <a:extLst>
              <a:ext uri="{FF2B5EF4-FFF2-40B4-BE49-F238E27FC236}">
                <a16:creationId xmlns:a16="http://schemas.microsoft.com/office/drawing/2014/main" id="{E1C5068E-C9E7-4081-938C-CE8292455D97}"/>
              </a:ext>
            </a:extLst>
          </p:cNvPr>
          <p:cNvSpPr>
            <a:spLocks noChangeAspect="1"/>
          </p:cNvSpPr>
          <p:nvPr/>
        </p:nvSpPr>
        <p:spPr>
          <a:xfrm>
            <a:off x="2123898" y="3098420"/>
            <a:ext cx="751839" cy="751551"/>
          </a:xfrm>
          <a:custGeom>
            <a:avLst/>
            <a:gdLst>
              <a:gd name="connsiteX0" fmla="*/ 673872 w 1078769"/>
              <a:gd name="connsiteY0" fmla="*/ 357263 h 1078358"/>
              <a:gd name="connsiteX1" fmla="*/ 788442 w 1078769"/>
              <a:gd name="connsiteY1" fmla="*/ 357263 h 1078358"/>
              <a:gd name="connsiteX2" fmla="*/ 788442 w 1078769"/>
              <a:gd name="connsiteY2" fmla="*/ 885354 h 1078358"/>
              <a:gd name="connsiteX3" fmla="*/ 1013476 w 1078769"/>
              <a:gd name="connsiteY3" fmla="*/ 717810 h 1078358"/>
              <a:gd name="connsiteX4" fmla="*/ 1078769 w 1078769"/>
              <a:gd name="connsiteY4" fmla="*/ 804457 h 1078358"/>
              <a:gd name="connsiteX5" fmla="*/ 731362 w 1078769"/>
              <a:gd name="connsiteY5" fmla="*/ 1078358 h 1078358"/>
              <a:gd name="connsiteX6" fmla="*/ 383544 w 1078769"/>
              <a:gd name="connsiteY6" fmla="*/ 804457 h 1078358"/>
              <a:gd name="connsiteX7" fmla="*/ 448837 w 1078769"/>
              <a:gd name="connsiteY7" fmla="*/ 717810 h 1078358"/>
              <a:gd name="connsiteX8" fmla="*/ 673872 w 1078769"/>
              <a:gd name="connsiteY8" fmla="*/ 885354 h 1078358"/>
              <a:gd name="connsiteX9" fmla="*/ 367118 w 1078769"/>
              <a:gd name="connsiteY9" fmla="*/ 0 h 1078358"/>
              <a:gd name="connsiteX10" fmla="*/ 555194 w 1078769"/>
              <a:gd name="connsiteY10" fmla="*/ 39833 h 1078358"/>
              <a:gd name="connsiteX11" fmla="*/ 518646 w 1078769"/>
              <a:gd name="connsiteY11" fmla="*/ 142494 h 1078358"/>
              <a:gd name="connsiteX12" fmla="*/ 386007 w 1078769"/>
              <a:gd name="connsiteY12" fmla="*/ 105125 h 1078358"/>
              <a:gd name="connsiteX13" fmla="*/ 228319 w 1078769"/>
              <a:gd name="connsiteY13" fmla="*/ 235711 h 1078358"/>
              <a:gd name="connsiteX14" fmla="*/ 485384 w 1078769"/>
              <a:gd name="connsiteY14" fmla="*/ 235711 h 1078358"/>
              <a:gd name="connsiteX15" fmla="*/ 463209 w 1078769"/>
              <a:gd name="connsiteY15" fmla="*/ 299772 h 1078358"/>
              <a:gd name="connsiteX16" fmla="*/ 222570 w 1078769"/>
              <a:gd name="connsiteY16" fmla="*/ 299772 h 1078358"/>
              <a:gd name="connsiteX17" fmla="*/ 221749 w 1078769"/>
              <a:gd name="connsiteY17" fmla="*/ 307985 h 1078358"/>
              <a:gd name="connsiteX18" fmla="*/ 221749 w 1078769"/>
              <a:gd name="connsiteY18" fmla="*/ 320304 h 1078358"/>
              <a:gd name="connsiteX19" fmla="*/ 224623 w 1078769"/>
              <a:gd name="connsiteY19" fmla="*/ 353156 h 1078358"/>
              <a:gd name="connsiteX20" fmla="*/ 444319 w 1078769"/>
              <a:gd name="connsiteY20" fmla="*/ 353156 h 1078358"/>
              <a:gd name="connsiteX21" fmla="*/ 421323 w 1078769"/>
              <a:gd name="connsiteY21" fmla="*/ 418038 h 1078358"/>
              <a:gd name="connsiteX22" fmla="*/ 236943 w 1078769"/>
              <a:gd name="connsiteY22" fmla="*/ 418038 h 1078358"/>
              <a:gd name="connsiteX23" fmla="*/ 396684 w 1078769"/>
              <a:gd name="connsiteY23" fmla="*/ 533019 h 1078358"/>
              <a:gd name="connsiteX24" fmla="*/ 526859 w 1078769"/>
              <a:gd name="connsiteY24" fmla="*/ 498114 h 1078358"/>
              <a:gd name="connsiteX25" fmla="*/ 555604 w 1078769"/>
              <a:gd name="connsiteY25" fmla="*/ 604471 h 1078358"/>
              <a:gd name="connsiteX26" fmla="*/ 374509 w 1078769"/>
              <a:gd name="connsiteY26" fmla="*/ 638144 h 1078358"/>
              <a:gd name="connsiteX27" fmla="*/ 91985 w 1078769"/>
              <a:gd name="connsiteY27" fmla="*/ 418038 h 1078358"/>
              <a:gd name="connsiteX28" fmla="*/ 0 w 1078769"/>
              <a:gd name="connsiteY28" fmla="*/ 418038 h 1078358"/>
              <a:gd name="connsiteX29" fmla="*/ 22996 w 1078769"/>
              <a:gd name="connsiteY29" fmla="*/ 352745 h 1078358"/>
              <a:gd name="connsiteX30" fmla="*/ 83772 w 1078769"/>
              <a:gd name="connsiteY30" fmla="*/ 352745 h 1078358"/>
              <a:gd name="connsiteX31" fmla="*/ 82950 w 1078769"/>
              <a:gd name="connsiteY31" fmla="*/ 330570 h 1078358"/>
              <a:gd name="connsiteX32" fmla="*/ 83772 w 1078769"/>
              <a:gd name="connsiteY32" fmla="*/ 299361 h 1078358"/>
              <a:gd name="connsiteX33" fmla="*/ 0 w 1078769"/>
              <a:gd name="connsiteY33" fmla="*/ 299361 h 1078358"/>
              <a:gd name="connsiteX34" fmla="*/ 22996 w 1078769"/>
              <a:gd name="connsiteY34" fmla="*/ 235300 h 1078358"/>
              <a:gd name="connsiteX35" fmla="*/ 91985 w 1078769"/>
              <a:gd name="connsiteY35" fmla="*/ 235300 h 1078358"/>
              <a:gd name="connsiteX36" fmla="*/ 367118 w 1078769"/>
              <a:gd name="connsiteY36" fmla="*/ 0 h 1078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78769" h="1078358">
                <a:moveTo>
                  <a:pt x="673872" y="357263"/>
                </a:moveTo>
                <a:lnTo>
                  <a:pt x="788442" y="357263"/>
                </a:lnTo>
                <a:lnTo>
                  <a:pt x="788442" y="885354"/>
                </a:lnTo>
                <a:lnTo>
                  <a:pt x="1013476" y="717810"/>
                </a:lnTo>
                <a:lnTo>
                  <a:pt x="1078769" y="804457"/>
                </a:lnTo>
                <a:lnTo>
                  <a:pt x="731362" y="1078358"/>
                </a:lnTo>
                <a:lnTo>
                  <a:pt x="383544" y="804457"/>
                </a:lnTo>
                <a:lnTo>
                  <a:pt x="448837" y="717810"/>
                </a:lnTo>
                <a:lnTo>
                  <a:pt x="673872" y="885354"/>
                </a:lnTo>
                <a:close/>
                <a:moveTo>
                  <a:pt x="367118" y="0"/>
                </a:moveTo>
                <a:cubicBezTo>
                  <a:pt x="438570" y="0"/>
                  <a:pt x="501810" y="13551"/>
                  <a:pt x="555194" y="39833"/>
                </a:cubicBezTo>
                <a:lnTo>
                  <a:pt x="518646" y="142494"/>
                </a:lnTo>
                <a:cubicBezTo>
                  <a:pt x="469779" y="115802"/>
                  <a:pt x="432411" y="105125"/>
                  <a:pt x="386007" y="105125"/>
                </a:cubicBezTo>
                <a:cubicBezTo>
                  <a:pt x="297718" y="105125"/>
                  <a:pt x="246798" y="147011"/>
                  <a:pt x="228319" y="235711"/>
                </a:cubicBezTo>
                <a:lnTo>
                  <a:pt x="485384" y="235711"/>
                </a:lnTo>
                <a:lnTo>
                  <a:pt x="463209" y="299772"/>
                </a:lnTo>
                <a:lnTo>
                  <a:pt x="222570" y="299772"/>
                </a:lnTo>
                <a:lnTo>
                  <a:pt x="221749" y="307985"/>
                </a:lnTo>
                <a:lnTo>
                  <a:pt x="221749" y="320304"/>
                </a:lnTo>
                <a:cubicBezTo>
                  <a:pt x="221749" y="330981"/>
                  <a:pt x="222981" y="339604"/>
                  <a:pt x="224623" y="353156"/>
                </a:cubicBezTo>
                <a:lnTo>
                  <a:pt x="444319" y="353156"/>
                </a:lnTo>
                <a:lnTo>
                  <a:pt x="421323" y="418038"/>
                </a:lnTo>
                <a:lnTo>
                  <a:pt x="236943" y="418038"/>
                </a:lnTo>
                <a:cubicBezTo>
                  <a:pt x="262814" y="498114"/>
                  <a:pt x="310038" y="533019"/>
                  <a:pt x="396684" y="533019"/>
                </a:cubicBezTo>
                <a:cubicBezTo>
                  <a:pt x="442266" y="533019"/>
                  <a:pt x="482099" y="522342"/>
                  <a:pt x="526859" y="498114"/>
                </a:cubicBezTo>
                <a:lnTo>
                  <a:pt x="555604" y="604471"/>
                </a:lnTo>
                <a:cubicBezTo>
                  <a:pt x="500988" y="627468"/>
                  <a:pt x="443087" y="638144"/>
                  <a:pt x="374509" y="638144"/>
                </a:cubicBezTo>
                <a:cubicBezTo>
                  <a:pt x="223802" y="638144"/>
                  <a:pt x="121551" y="558890"/>
                  <a:pt x="91985" y="418038"/>
                </a:cubicBezTo>
                <a:lnTo>
                  <a:pt x="0" y="418038"/>
                </a:lnTo>
                <a:lnTo>
                  <a:pt x="22996" y="352745"/>
                </a:lnTo>
                <a:lnTo>
                  <a:pt x="83772" y="352745"/>
                </a:lnTo>
                <a:cubicBezTo>
                  <a:pt x="82950" y="344122"/>
                  <a:pt x="82950" y="339604"/>
                  <a:pt x="82950" y="330570"/>
                </a:cubicBezTo>
                <a:cubicBezTo>
                  <a:pt x="82950" y="318251"/>
                  <a:pt x="82950" y="311680"/>
                  <a:pt x="83772" y="299361"/>
                </a:cubicBezTo>
                <a:lnTo>
                  <a:pt x="0" y="299361"/>
                </a:lnTo>
                <a:lnTo>
                  <a:pt x="22996" y="235300"/>
                </a:lnTo>
                <a:lnTo>
                  <a:pt x="91985" y="235300"/>
                </a:lnTo>
                <a:cubicBezTo>
                  <a:pt x="123194" y="84593"/>
                  <a:pt x="222981" y="0"/>
                  <a:pt x="367118" y="0"/>
                </a:cubicBezTo>
                <a:close/>
              </a:path>
            </a:pathLst>
          </a:custGeom>
          <a:solidFill>
            <a:srgbClr val="00FFB9"/>
          </a:solidFill>
          <a:ln w="9525" cap="flat">
            <a:noFill/>
            <a:prstDash val="solid"/>
            <a:miter/>
          </a:ln>
        </p:spPr>
        <p:txBody>
          <a:bodyPr rtlCol="0" anchor="ctr"/>
          <a:lstStyle/>
          <a:p>
            <a:endParaRPr lang="en-US" sz="1799"/>
          </a:p>
        </p:txBody>
      </p:sp>
      <p:sp>
        <p:nvSpPr>
          <p:cNvPr id="74" name="Freihandform: Form 73">
            <a:extLst>
              <a:ext uri="{FF2B5EF4-FFF2-40B4-BE49-F238E27FC236}">
                <a16:creationId xmlns:a16="http://schemas.microsoft.com/office/drawing/2014/main" id="{F793A9B4-04C2-4777-AFDA-F4A8E27A2D4A}"/>
              </a:ext>
            </a:extLst>
          </p:cNvPr>
          <p:cNvSpPr/>
          <p:nvPr/>
        </p:nvSpPr>
        <p:spPr>
          <a:xfrm>
            <a:off x="2193542" y="4884560"/>
            <a:ext cx="576691" cy="665243"/>
          </a:xfrm>
          <a:custGeom>
            <a:avLst/>
            <a:gdLst>
              <a:gd name="connsiteX0" fmla="*/ 190500 w 576691"/>
              <a:gd name="connsiteY0" fmla="*/ 398543 h 665243"/>
              <a:gd name="connsiteX1" fmla="*/ 342900 w 576691"/>
              <a:gd name="connsiteY1" fmla="*/ 398543 h 665243"/>
              <a:gd name="connsiteX2" fmla="*/ 342900 w 576691"/>
              <a:gd name="connsiteY2" fmla="*/ 665243 h 665243"/>
              <a:gd name="connsiteX3" fmla="*/ 190500 w 576691"/>
              <a:gd name="connsiteY3" fmla="*/ 665243 h 665243"/>
              <a:gd name="connsiteX4" fmla="*/ 381000 w 576691"/>
              <a:gd name="connsiteY4" fmla="*/ 665243 h 665243"/>
              <a:gd name="connsiteX5" fmla="*/ 533400 w 576691"/>
              <a:gd name="connsiteY5" fmla="*/ 665243 h 665243"/>
              <a:gd name="connsiteX6" fmla="*/ 533400 w 576691"/>
              <a:gd name="connsiteY6" fmla="*/ 312818 h 665243"/>
              <a:gd name="connsiteX7" fmla="*/ 381000 w 576691"/>
              <a:gd name="connsiteY7" fmla="*/ 312818 h 665243"/>
              <a:gd name="connsiteX8" fmla="*/ 0 w 576691"/>
              <a:gd name="connsiteY8" fmla="*/ 665243 h 665243"/>
              <a:gd name="connsiteX9" fmla="*/ 152400 w 576691"/>
              <a:gd name="connsiteY9" fmla="*/ 665243 h 665243"/>
              <a:gd name="connsiteX10" fmla="*/ 152400 w 576691"/>
              <a:gd name="connsiteY10" fmla="*/ 493793 h 665243"/>
              <a:gd name="connsiteX11" fmla="*/ 0 w 576691"/>
              <a:gd name="connsiteY11" fmla="*/ 493793 h 665243"/>
              <a:gd name="connsiteX12" fmla="*/ 409529 w 576691"/>
              <a:gd name="connsiteY12" fmla="*/ 0 h 665243"/>
              <a:gd name="connsiteX13" fmla="*/ 386014 w 576691"/>
              <a:gd name="connsiteY13" fmla="*/ 57271 h 665243"/>
              <a:gd name="connsiteX14" fmla="*/ 466070 w 576691"/>
              <a:gd name="connsiteY14" fmla="*/ 90136 h 665243"/>
              <a:gd name="connsiteX15" fmla="*/ 0 w 576691"/>
              <a:gd name="connsiteY15" fmla="*/ 323171 h 665243"/>
              <a:gd name="connsiteX16" fmla="*/ 0 w 576691"/>
              <a:gd name="connsiteY16" fmla="*/ 397715 h 665243"/>
              <a:gd name="connsiteX17" fmla="*/ 493109 w 576691"/>
              <a:gd name="connsiteY17" fmla="*/ 151161 h 665243"/>
              <a:gd name="connsiteX18" fmla="*/ 474139 w 576691"/>
              <a:gd name="connsiteY18" fmla="*/ 229837 h 665243"/>
              <a:gd name="connsiteX19" fmla="*/ 534321 w 576691"/>
              <a:gd name="connsiteY19" fmla="*/ 244348 h 665243"/>
              <a:gd name="connsiteX20" fmla="*/ 576691 w 576691"/>
              <a:gd name="connsiteY20" fmla="*/ 68628 h 665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76691" h="665243">
                <a:moveTo>
                  <a:pt x="190500" y="398543"/>
                </a:moveTo>
                <a:lnTo>
                  <a:pt x="342900" y="398543"/>
                </a:lnTo>
                <a:lnTo>
                  <a:pt x="342900" y="665243"/>
                </a:lnTo>
                <a:lnTo>
                  <a:pt x="190500" y="665243"/>
                </a:lnTo>
                <a:close/>
                <a:moveTo>
                  <a:pt x="381000" y="665243"/>
                </a:moveTo>
                <a:lnTo>
                  <a:pt x="533400" y="665243"/>
                </a:lnTo>
                <a:lnTo>
                  <a:pt x="533400" y="312818"/>
                </a:lnTo>
                <a:lnTo>
                  <a:pt x="381000" y="312818"/>
                </a:lnTo>
                <a:close/>
                <a:moveTo>
                  <a:pt x="0" y="665243"/>
                </a:moveTo>
                <a:lnTo>
                  <a:pt x="152400" y="665243"/>
                </a:lnTo>
                <a:lnTo>
                  <a:pt x="152400" y="493793"/>
                </a:lnTo>
                <a:lnTo>
                  <a:pt x="0" y="493793"/>
                </a:lnTo>
                <a:close/>
                <a:moveTo>
                  <a:pt x="409529" y="0"/>
                </a:moveTo>
                <a:lnTo>
                  <a:pt x="386014" y="57271"/>
                </a:lnTo>
                <a:lnTo>
                  <a:pt x="466070" y="90136"/>
                </a:lnTo>
                <a:lnTo>
                  <a:pt x="0" y="323171"/>
                </a:lnTo>
                <a:lnTo>
                  <a:pt x="0" y="397715"/>
                </a:lnTo>
                <a:lnTo>
                  <a:pt x="493109" y="151161"/>
                </a:lnTo>
                <a:lnTo>
                  <a:pt x="474139" y="229837"/>
                </a:lnTo>
                <a:lnTo>
                  <a:pt x="534321" y="244348"/>
                </a:lnTo>
                <a:lnTo>
                  <a:pt x="576691" y="68628"/>
                </a:lnTo>
                <a:close/>
              </a:path>
            </a:pathLst>
          </a:custGeom>
          <a:solidFill>
            <a:srgbClr val="00FFB9"/>
          </a:solidFill>
          <a:ln w="9525" cap="flat">
            <a:noFill/>
            <a:prstDash val="solid"/>
            <a:miter/>
          </a:ln>
        </p:spPr>
        <p:txBody>
          <a:bodyPr rtlCol="0" anchor="ctr"/>
          <a:lstStyle/>
          <a:p>
            <a:endParaRPr lang="en-US"/>
          </a:p>
        </p:txBody>
      </p:sp>
      <p:grpSp>
        <p:nvGrpSpPr>
          <p:cNvPr id="4" name="Gruppieren 3">
            <a:extLst>
              <a:ext uri="{FF2B5EF4-FFF2-40B4-BE49-F238E27FC236}">
                <a16:creationId xmlns:a16="http://schemas.microsoft.com/office/drawing/2014/main" id="{CE531DE2-26BF-4098-B723-9D0F1CEFBF77}"/>
              </a:ext>
            </a:extLst>
          </p:cNvPr>
          <p:cNvGrpSpPr/>
          <p:nvPr/>
        </p:nvGrpSpPr>
        <p:grpSpPr>
          <a:xfrm>
            <a:off x="8740202" y="4200083"/>
            <a:ext cx="3060000" cy="1713692"/>
            <a:chOff x="3635771" y="4200083"/>
            <a:chExt cx="3060000" cy="1713692"/>
          </a:xfrm>
        </p:grpSpPr>
        <p:sp>
          <p:nvSpPr>
            <p:cNvPr id="22" name="Rechteck 6">
              <a:extLst>
                <a:ext uri="{FF2B5EF4-FFF2-40B4-BE49-F238E27FC236}">
                  <a16:creationId xmlns:a16="http://schemas.microsoft.com/office/drawing/2014/main" id="{F5F56F38-BE2E-4DFC-9531-A1D47C73A85B}"/>
                </a:ext>
              </a:extLst>
            </p:cNvPr>
            <p:cNvSpPr/>
            <p:nvPr/>
          </p:nvSpPr>
          <p:spPr bwMode="gray">
            <a:xfrm>
              <a:off x="3635771" y="4200083"/>
              <a:ext cx="3060000" cy="1713692"/>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r>
                <a:rPr lang="en-US" sz="2800"/>
                <a:t>Lack of talent</a:t>
              </a:r>
            </a:p>
          </p:txBody>
        </p:sp>
        <p:sp>
          <p:nvSpPr>
            <p:cNvPr id="25" name="Freihandform: Form 24">
              <a:extLst>
                <a:ext uri="{FF2B5EF4-FFF2-40B4-BE49-F238E27FC236}">
                  <a16:creationId xmlns:a16="http://schemas.microsoft.com/office/drawing/2014/main" id="{3ADE7249-F1B9-47E8-AD9F-78A8A782D32E}"/>
                </a:ext>
              </a:extLst>
            </p:cNvPr>
            <p:cNvSpPr/>
            <p:nvPr/>
          </p:nvSpPr>
          <p:spPr bwMode="gray">
            <a:xfrm>
              <a:off x="4871324" y="4856777"/>
              <a:ext cx="588895" cy="770117"/>
            </a:xfrm>
            <a:custGeom>
              <a:avLst/>
              <a:gdLst>
                <a:gd name="connsiteX0" fmla="*/ 371094 w 1403985"/>
                <a:gd name="connsiteY0" fmla="*/ 377952 h 1836039"/>
                <a:gd name="connsiteX1" fmla="*/ 701897 w 1403985"/>
                <a:gd name="connsiteY1" fmla="*/ 0 h 1836039"/>
                <a:gd name="connsiteX2" fmla="*/ 1032605 w 1403985"/>
                <a:gd name="connsiteY2" fmla="*/ 377952 h 1836039"/>
                <a:gd name="connsiteX3" fmla="*/ 701897 w 1403985"/>
                <a:gd name="connsiteY3" fmla="*/ 755999 h 1836039"/>
                <a:gd name="connsiteX4" fmla="*/ 371094 w 1403985"/>
                <a:gd name="connsiteY4" fmla="*/ 377952 h 1836039"/>
                <a:gd name="connsiteX5" fmla="*/ 1403604 w 1403985"/>
                <a:gd name="connsiteY5" fmla="*/ 1202627 h 1836039"/>
                <a:gd name="connsiteX6" fmla="*/ 1177481 w 1403985"/>
                <a:gd name="connsiteY6" fmla="*/ 930307 h 1836039"/>
                <a:gd name="connsiteX7" fmla="*/ 1177290 w 1403985"/>
                <a:gd name="connsiteY7" fmla="*/ 929926 h 1836039"/>
                <a:gd name="connsiteX8" fmla="*/ 936212 w 1403985"/>
                <a:gd name="connsiteY8" fmla="*/ 913066 h 1836039"/>
                <a:gd name="connsiteX9" fmla="*/ 936212 w 1403985"/>
                <a:gd name="connsiteY9" fmla="*/ 913257 h 1836039"/>
                <a:gd name="connsiteX10" fmla="*/ 936022 w 1403985"/>
                <a:gd name="connsiteY10" fmla="*/ 913162 h 1836039"/>
                <a:gd name="connsiteX11" fmla="*/ 701993 w 1403985"/>
                <a:gd name="connsiteY11" fmla="*/ 1147191 h 1836039"/>
                <a:gd name="connsiteX12" fmla="*/ 701993 w 1403985"/>
                <a:gd name="connsiteY12" fmla="*/ 1147191 h 1836039"/>
                <a:gd name="connsiteX13" fmla="*/ 468059 w 1403985"/>
                <a:gd name="connsiteY13" fmla="*/ 913162 h 1836039"/>
                <a:gd name="connsiteX14" fmla="*/ 467773 w 1403985"/>
                <a:gd name="connsiteY14" fmla="*/ 913257 h 1836039"/>
                <a:gd name="connsiteX15" fmla="*/ 467773 w 1403985"/>
                <a:gd name="connsiteY15" fmla="*/ 913066 h 1836039"/>
                <a:gd name="connsiteX16" fmla="*/ 226695 w 1403985"/>
                <a:gd name="connsiteY16" fmla="*/ 929926 h 1836039"/>
                <a:gd name="connsiteX17" fmla="*/ 226409 w 1403985"/>
                <a:gd name="connsiteY17" fmla="*/ 930307 h 1836039"/>
                <a:gd name="connsiteX18" fmla="*/ 286 w 1403985"/>
                <a:gd name="connsiteY18" fmla="*/ 1202627 h 1836039"/>
                <a:gd name="connsiteX19" fmla="*/ 0 w 1403985"/>
                <a:gd name="connsiteY19" fmla="*/ 1203103 h 1836039"/>
                <a:gd name="connsiteX20" fmla="*/ 0 w 1403985"/>
                <a:gd name="connsiteY20" fmla="*/ 1836039 h 1836039"/>
                <a:gd name="connsiteX21" fmla="*/ 1403985 w 1403985"/>
                <a:gd name="connsiteY21" fmla="*/ 1836039 h 1836039"/>
                <a:gd name="connsiteX22" fmla="*/ 1403985 w 1403985"/>
                <a:gd name="connsiteY22" fmla="*/ 1203103 h 1836039"/>
                <a:gd name="connsiteX23" fmla="*/ 1403604 w 1403985"/>
                <a:gd name="connsiteY23" fmla="*/ 1202627 h 1836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03985" h="1836039">
                  <a:moveTo>
                    <a:pt x="371094" y="377952"/>
                  </a:moveTo>
                  <a:cubicBezTo>
                    <a:pt x="371094" y="151352"/>
                    <a:pt x="505015" y="0"/>
                    <a:pt x="701897" y="0"/>
                  </a:cubicBezTo>
                  <a:cubicBezTo>
                    <a:pt x="898779" y="0"/>
                    <a:pt x="1032605" y="151352"/>
                    <a:pt x="1032605" y="377952"/>
                  </a:cubicBezTo>
                  <a:cubicBezTo>
                    <a:pt x="1032605" y="604552"/>
                    <a:pt x="898779" y="755999"/>
                    <a:pt x="701897" y="755999"/>
                  </a:cubicBezTo>
                  <a:cubicBezTo>
                    <a:pt x="505015" y="755999"/>
                    <a:pt x="371094" y="604552"/>
                    <a:pt x="371094" y="377952"/>
                  </a:cubicBezTo>
                  <a:close/>
                  <a:moveTo>
                    <a:pt x="1403604" y="1202627"/>
                  </a:moveTo>
                  <a:cubicBezTo>
                    <a:pt x="1400747" y="1046036"/>
                    <a:pt x="1310831" y="939641"/>
                    <a:pt x="1177481" y="930307"/>
                  </a:cubicBezTo>
                  <a:lnTo>
                    <a:pt x="1177290" y="929926"/>
                  </a:lnTo>
                  <a:lnTo>
                    <a:pt x="936212" y="913066"/>
                  </a:lnTo>
                  <a:lnTo>
                    <a:pt x="936212" y="913257"/>
                  </a:lnTo>
                  <a:cubicBezTo>
                    <a:pt x="936212" y="913257"/>
                    <a:pt x="936022" y="913162"/>
                    <a:pt x="936022" y="913162"/>
                  </a:cubicBezTo>
                  <a:lnTo>
                    <a:pt x="701993" y="1147191"/>
                  </a:lnTo>
                  <a:lnTo>
                    <a:pt x="701993" y="1147191"/>
                  </a:lnTo>
                  <a:lnTo>
                    <a:pt x="468059" y="913162"/>
                  </a:lnTo>
                  <a:cubicBezTo>
                    <a:pt x="468059" y="913162"/>
                    <a:pt x="467868" y="913257"/>
                    <a:pt x="467773" y="913257"/>
                  </a:cubicBezTo>
                  <a:lnTo>
                    <a:pt x="467773" y="913066"/>
                  </a:lnTo>
                  <a:lnTo>
                    <a:pt x="226695" y="929926"/>
                  </a:lnTo>
                  <a:lnTo>
                    <a:pt x="226409" y="930307"/>
                  </a:lnTo>
                  <a:cubicBezTo>
                    <a:pt x="93059" y="939641"/>
                    <a:pt x="3143" y="1046036"/>
                    <a:pt x="286" y="1202627"/>
                  </a:cubicBezTo>
                  <a:cubicBezTo>
                    <a:pt x="190" y="1202722"/>
                    <a:pt x="0" y="1203008"/>
                    <a:pt x="0" y="1203103"/>
                  </a:cubicBezTo>
                  <a:cubicBezTo>
                    <a:pt x="0" y="1257586"/>
                    <a:pt x="0" y="1559243"/>
                    <a:pt x="0" y="1836039"/>
                  </a:cubicBezTo>
                  <a:lnTo>
                    <a:pt x="1403985" y="1836039"/>
                  </a:lnTo>
                  <a:cubicBezTo>
                    <a:pt x="1403985" y="1559243"/>
                    <a:pt x="1403985" y="1257681"/>
                    <a:pt x="1403985" y="1203103"/>
                  </a:cubicBezTo>
                  <a:cubicBezTo>
                    <a:pt x="1403795" y="1203008"/>
                    <a:pt x="1403604" y="1202722"/>
                    <a:pt x="1403604" y="1202627"/>
                  </a:cubicBezTo>
                  <a:close/>
                </a:path>
              </a:pathLst>
            </a:custGeom>
            <a:solidFill>
              <a:srgbClr val="00FFB9"/>
            </a:solidFill>
            <a:ln w="9525" cap="flat">
              <a:noFill/>
              <a:prstDash val="solid"/>
              <a:miter/>
            </a:ln>
          </p:spPr>
          <p:txBody>
            <a:bodyPr rtlCol="0" anchor="ctr"/>
            <a:lstStyle/>
            <a:p>
              <a:endParaRPr lang="en-US" sz="2000"/>
            </a:p>
          </p:txBody>
        </p:sp>
      </p:grpSp>
      <p:grpSp>
        <p:nvGrpSpPr>
          <p:cNvPr id="8" name="Gruppieren 7">
            <a:extLst>
              <a:ext uri="{FF2B5EF4-FFF2-40B4-BE49-F238E27FC236}">
                <a16:creationId xmlns:a16="http://schemas.microsoft.com/office/drawing/2014/main" id="{81149C03-B8A7-47B4-AF15-CCAFD94CB450}"/>
              </a:ext>
            </a:extLst>
          </p:cNvPr>
          <p:cNvGrpSpPr/>
          <p:nvPr/>
        </p:nvGrpSpPr>
        <p:grpSpPr>
          <a:xfrm>
            <a:off x="3666180" y="4200083"/>
            <a:ext cx="3060000" cy="1713692"/>
            <a:chOff x="8740202" y="4228216"/>
            <a:chExt cx="3060000" cy="1713692"/>
          </a:xfrm>
        </p:grpSpPr>
        <p:sp>
          <p:nvSpPr>
            <p:cNvPr id="26" name="Rechteck 6">
              <a:extLst>
                <a:ext uri="{FF2B5EF4-FFF2-40B4-BE49-F238E27FC236}">
                  <a16:creationId xmlns:a16="http://schemas.microsoft.com/office/drawing/2014/main" id="{71DD8F76-D74F-4D53-9D61-D42C67BB5685}"/>
                </a:ext>
              </a:extLst>
            </p:cNvPr>
            <p:cNvSpPr/>
            <p:nvPr/>
          </p:nvSpPr>
          <p:spPr bwMode="gray">
            <a:xfrm>
              <a:off x="8740202" y="4228216"/>
              <a:ext cx="3060000" cy="1713692"/>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marL="0" marR="0" lvl="1" indent="0" algn="l" defTabSz="914400" rtl="0" eaLnBrk="1" fontAlgn="auto" latinLnBrk="0" hangingPunct="1">
                <a:lnSpc>
                  <a:spcPct val="100000"/>
                </a:lnSpc>
                <a:spcBef>
                  <a:spcPts val="1500"/>
                </a:spcBef>
                <a:spcAft>
                  <a:spcPct val="0"/>
                </a:spcAft>
                <a:buClr>
                  <a:prstClr val="white"/>
                </a:buClr>
                <a:buSzTx/>
                <a:buNone/>
                <a:tabLst/>
                <a:defRPr/>
              </a:pPr>
              <a:r>
                <a:rPr kumimoji="0" lang="en-US" sz="2800" b="0" i="0" u="none" strike="noStrike" kern="1200" cap="none" spc="0" normalizeH="0" baseline="0" noProof="0">
                  <a:ln>
                    <a:noFill/>
                  </a:ln>
                  <a:solidFill>
                    <a:prstClr val="white"/>
                  </a:solidFill>
                  <a:effectLst/>
                  <a:uLnTx/>
                  <a:uFillTx/>
                  <a:latin typeface="Arial"/>
                  <a:ea typeface="+mn-ea"/>
                  <a:cs typeface="+mn-cs"/>
                </a:rPr>
                <a:t>Flexibility</a:t>
              </a:r>
            </a:p>
          </p:txBody>
        </p:sp>
        <p:sp>
          <p:nvSpPr>
            <p:cNvPr id="27" name="Freeform 49">
              <a:extLst>
                <a:ext uri="{FF2B5EF4-FFF2-40B4-BE49-F238E27FC236}">
                  <a16:creationId xmlns:a16="http://schemas.microsoft.com/office/drawing/2014/main" id="{FDB7DD40-991A-444F-8656-3E2F46D7F784}"/>
                </a:ext>
              </a:extLst>
            </p:cNvPr>
            <p:cNvSpPr>
              <a:spLocks noEditPoints="1"/>
            </p:cNvSpPr>
            <p:nvPr/>
          </p:nvSpPr>
          <p:spPr bwMode="auto">
            <a:xfrm>
              <a:off x="9821993" y="4909587"/>
              <a:ext cx="896419" cy="737056"/>
            </a:xfrm>
            <a:custGeom>
              <a:avLst/>
              <a:gdLst>
                <a:gd name="T0" fmla="*/ 71 w 315"/>
                <a:gd name="T1" fmla="*/ 68 h 259"/>
                <a:gd name="T2" fmla="*/ 0 w 315"/>
                <a:gd name="T3" fmla="*/ 68 h 259"/>
                <a:gd name="T4" fmla="*/ 0 w 315"/>
                <a:gd name="T5" fmla="*/ 38 h 259"/>
                <a:gd name="T6" fmla="*/ 83 w 315"/>
                <a:gd name="T7" fmla="*/ 38 h 259"/>
                <a:gd name="T8" fmla="*/ 143 w 315"/>
                <a:gd name="T9" fmla="*/ 97 h 259"/>
                <a:gd name="T10" fmla="*/ 121 w 315"/>
                <a:gd name="T11" fmla="*/ 119 h 259"/>
                <a:gd name="T12" fmla="*/ 71 w 315"/>
                <a:gd name="T13" fmla="*/ 68 h 259"/>
                <a:gd name="T14" fmla="*/ 237 w 315"/>
                <a:gd name="T15" fmla="*/ 68 h 259"/>
                <a:gd name="T16" fmla="*/ 271 w 315"/>
                <a:gd name="T17" fmla="*/ 68 h 259"/>
                <a:gd name="T18" fmla="*/ 249 w 315"/>
                <a:gd name="T19" fmla="*/ 93 h 259"/>
                <a:gd name="T20" fmla="*/ 262 w 315"/>
                <a:gd name="T21" fmla="*/ 106 h 259"/>
                <a:gd name="T22" fmla="*/ 315 w 315"/>
                <a:gd name="T23" fmla="*/ 53 h 259"/>
                <a:gd name="T24" fmla="*/ 262 w 315"/>
                <a:gd name="T25" fmla="*/ 0 h 259"/>
                <a:gd name="T26" fmla="*/ 249 w 315"/>
                <a:gd name="T27" fmla="*/ 13 h 259"/>
                <a:gd name="T28" fmla="*/ 271 w 315"/>
                <a:gd name="T29" fmla="*/ 38 h 259"/>
                <a:gd name="T30" fmla="*/ 224 w 315"/>
                <a:gd name="T31" fmla="*/ 38 h 259"/>
                <a:gd name="T32" fmla="*/ 224 w 315"/>
                <a:gd name="T33" fmla="*/ 38 h 259"/>
                <a:gd name="T34" fmla="*/ 224 w 315"/>
                <a:gd name="T35" fmla="*/ 38 h 259"/>
                <a:gd name="T36" fmla="*/ 71 w 315"/>
                <a:gd name="T37" fmla="*/ 191 h 259"/>
                <a:gd name="T38" fmla="*/ 0 w 315"/>
                <a:gd name="T39" fmla="*/ 191 h 259"/>
                <a:gd name="T40" fmla="*/ 0 w 315"/>
                <a:gd name="T41" fmla="*/ 222 h 259"/>
                <a:gd name="T42" fmla="*/ 83 w 315"/>
                <a:gd name="T43" fmla="*/ 222 h 259"/>
                <a:gd name="T44" fmla="*/ 237 w 315"/>
                <a:gd name="T45" fmla="*/ 68 h 259"/>
                <a:gd name="T46" fmla="*/ 249 w 315"/>
                <a:gd name="T47" fmla="*/ 166 h 259"/>
                <a:gd name="T48" fmla="*/ 271 w 315"/>
                <a:gd name="T49" fmla="*/ 191 h 259"/>
                <a:gd name="T50" fmla="*/ 237 w 315"/>
                <a:gd name="T51" fmla="*/ 191 h 259"/>
                <a:gd name="T52" fmla="*/ 186 w 315"/>
                <a:gd name="T53" fmla="*/ 140 h 259"/>
                <a:gd name="T54" fmla="*/ 165 w 315"/>
                <a:gd name="T55" fmla="*/ 162 h 259"/>
                <a:gd name="T56" fmla="*/ 224 w 315"/>
                <a:gd name="T57" fmla="*/ 222 h 259"/>
                <a:gd name="T58" fmla="*/ 271 w 315"/>
                <a:gd name="T59" fmla="*/ 222 h 259"/>
                <a:gd name="T60" fmla="*/ 249 w 315"/>
                <a:gd name="T61" fmla="*/ 246 h 259"/>
                <a:gd name="T62" fmla="*/ 262 w 315"/>
                <a:gd name="T63" fmla="*/ 259 h 259"/>
                <a:gd name="T64" fmla="*/ 315 w 315"/>
                <a:gd name="T65" fmla="*/ 206 h 259"/>
                <a:gd name="T66" fmla="*/ 262 w 315"/>
                <a:gd name="T67" fmla="*/ 153 h 259"/>
                <a:gd name="T68" fmla="*/ 249 w 315"/>
                <a:gd name="T69" fmla="*/ 166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5" h="259">
                  <a:moveTo>
                    <a:pt x="71" y="68"/>
                  </a:moveTo>
                  <a:lnTo>
                    <a:pt x="0" y="68"/>
                  </a:lnTo>
                  <a:lnTo>
                    <a:pt x="0" y="38"/>
                  </a:lnTo>
                  <a:lnTo>
                    <a:pt x="83" y="38"/>
                  </a:lnTo>
                  <a:lnTo>
                    <a:pt x="143" y="97"/>
                  </a:lnTo>
                  <a:lnTo>
                    <a:pt x="121" y="119"/>
                  </a:lnTo>
                  <a:lnTo>
                    <a:pt x="71" y="68"/>
                  </a:lnTo>
                  <a:close/>
                  <a:moveTo>
                    <a:pt x="237" y="68"/>
                  </a:moveTo>
                  <a:lnTo>
                    <a:pt x="271" y="68"/>
                  </a:lnTo>
                  <a:lnTo>
                    <a:pt x="249" y="93"/>
                  </a:lnTo>
                  <a:lnTo>
                    <a:pt x="262" y="106"/>
                  </a:lnTo>
                  <a:lnTo>
                    <a:pt x="315" y="53"/>
                  </a:lnTo>
                  <a:lnTo>
                    <a:pt x="262" y="0"/>
                  </a:lnTo>
                  <a:lnTo>
                    <a:pt x="249" y="13"/>
                  </a:lnTo>
                  <a:lnTo>
                    <a:pt x="271" y="38"/>
                  </a:lnTo>
                  <a:lnTo>
                    <a:pt x="224" y="38"/>
                  </a:lnTo>
                  <a:lnTo>
                    <a:pt x="224" y="38"/>
                  </a:lnTo>
                  <a:lnTo>
                    <a:pt x="224" y="38"/>
                  </a:lnTo>
                  <a:lnTo>
                    <a:pt x="71" y="191"/>
                  </a:lnTo>
                  <a:lnTo>
                    <a:pt x="0" y="191"/>
                  </a:lnTo>
                  <a:lnTo>
                    <a:pt x="0" y="222"/>
                  </a:lnTo>
                  <a:lnTo>
                    <a:pt x="83" y="222"/>
                  </a:lnTo>
                  <a:lnTo>
                    <a:pt x="237" y="68"/>
                  </a:lnTo>
                  <a:close/>
                  <a:moveTo>
                    <a:pt x="249" y="166"/>
                  </a:moveTo>
                  <a:lnTo>
                    <a:pt x="271" y="191"/>
                  </a:lnTo>
                  <a:lnTo>
                    <a:pt x="237" y="191"/>
                  </a:lnTo>
                  <a:lnTo>
                    <a:pt x="186" y="140"/>
                  </a:lnTo>
                  <a:lnTo>
                    <a:pt x="165" y="162"/>
                  </a:lnTo>
                  <a:lnTo>
                    <a:pt x="224" y="222"/>
                  </a:lnTo>
                  <a:lnTo>
                    <a:pt x="271" y="222"/>
                  </a:lnTo>
                  <a:lnTo>
                    <a:pt x="249" y="246"/>
                  </a:lnTo>
                  <a:lnTo>
                    <a:pt x="262" y="259"/>
                  </a:lnTo>
                  <a:lnTo>
                    <a:pt x="315" y="206"/>
                  </a:lnTo>
                  <a:lnTo>
                    <a:pt x="262" y="153"/>
                  </a:lnTo>
                  <a:lnTo>
                    <a:pt x="249" y="166"/>
                  </a:lnTo>
                  <a:close/>
                </a:path>
              </a:pathLst>
            </a:custGeom>
            <a:solidFill>
              <a:srgbClr val="00FFB9"/>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5">
            <a:extLst>
              <a:ext uri="{FF2B5EF4-FFF2-40B4-BE49-F238E27FC236}">
                <a16:creationId xmlns:a16="http://schemas.microsoft.com/office/drawing/2014/main" id="{DE0CD6B6-038D-406F-398B-D00F3AD207D9}"/>
              </a:ext>
            </a:extLst>
          </p:cNvPr>
          <p:cNvSpPr>
            <a:spLocks noGrp="1"/>
          </p:cNvSpPr>
          <p:nvPr>
            <p:ph type="ftr" sz="quarter" idx="10"/>
          </p:nvPr>
        </p:nvSpPr>
        <p:spPr>
          <a:xfrm>
            <a:off x="1059160" y="6310800"/>
            <a:ext cx="9216000" cy="547200"/>
          </a:xfrm>
        </p:spPr>
        <p:txBody>
          <a:bodyPr/>
          <a:lstStyle/>
          <a:p>
            <a:r>
              <a:rPr lang="en-US" dirty="0"/>
              <a:t>Unrestricted | © Siemens 2023 | Industrial AI</a:t>
            </a:r>
          </a:p>
        </p:txBody>
      </p:sp>
    </p:spTree>
    <p:extLst>
      <p:ext uri="{BB962C8B-B14F-4D97-AF65-F5344CB8AC3E}">
        <p14:creationId xmlns:p14="http://schemas.microsoft.com/office/powerpoint/2010/main" val="349281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409ADA50-41E4-4032-9C42-2FDDF1A9C3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13" name="Objekt 12" hidden="1">
                        <a:extLst>
                          <a:ext uri="{FF2B5EF4-FFF2-40B4-BE49-F238E27FC236}">
                            <a16:creationId xmlns:a16="http://schemas.microsoft.com/office/drawing/2014/main" id="{409ADA50-41E4-4032-9C42-2FDDF1A9C3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5F885B5-D236-4302-A920-AFD4CE68B770}"/>
              </a:ext>
            </a:extLst>
          </p:cNvPr>
          <p:cNvSpPr>
            <a:spLocks noGrp="1"/>
          </p:cNvSpPr>
          <p:nvPr>
            <p:ph type="title"/>
          </p:nvPr>
        </p:nvSpPr>
        <p:spPr>
          <a:xfrm>
            <a:off x="410400" y="478800"/>
            <a:ext cx="9863997" cy="576000"/>
          </a:xfrm>
        </p:spPr>
        <p:txBody>
          <a:bodyPr vert="horz"/>
          <a:lstStyle/>
          <a:p>
            <a:r>
              <a:rPr lang="en-US"/>
              <a:t>AI and the human factor </a:t>
            </a:r>
            <a:br>
              <a:rPr lang="en-US"/>
            </a:br>
            <a:endParaRPr lang="en-US"/>
          </a:p>
        </p:txBody>
      </p:sp>
      <p:cxnSp>
        <p:nvCxnSpPr>
          <p:cNvPr id="18" name="Gerader Verbinder 17">
            <a:extLst>
              <a:ext uri="{FF2B5EF4-FFF2-40B4-BE49-F238E27FC236}">
                <a16:creationId xmlns:a16="http://schemas.microsoft.com/office/drawing/2014/main" id="{5A7CE2E4-CB00-4328-A96C-99743DF76F57}"/>
              </a:ext>
            </a:extLst>
          </p:cNvPr>
          <p:cNvCxnSpPr>
            <a:cxnSpLocks/>
          </p:cNvCxnSpPr>
          <p:nvPr/>
        </p:nvCxnSpPr>
        <p:spPr>
          <a:xfrm>
            <a:off x="0" y="2724704"/>
            <a:ext cx="12192000" cy="0"/>
          </a:xfrm>
          <a:prstGeom prst="line">
            <a:avLst/>
          </a:prstGeom>
          <a:ln w="12700">
            <a:solidFill>
              <a:schemeClr val="accent3"/>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9" name="Rechteck 18">
            <a:extLst>
              <a:ext uri="{FF2B5EF4-FFF2-40B4-BE49-F238E27FC236}">
                <a16:creationId xmlns:a16="http://schemas.microsoft.com/office/drawing/2014/main" id="{4B900C59-651B-48D4-83E4-2175AD3D8462}"/>
              </a:ext>
            </a:extLst>
          </p:cNvPr>
          <p:cNvSpPr>
            <a:spLocks/>
          </p:cNvSpPr>
          <p:nvPr/>
        </p:nvSpPr>
        <p:spPr>
          <a:xfrm>
            <a:off x="9161562" y="2936768"/>
            <a:ext cx="2628799" cy="12311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lvl="1">
              <a:spcBef>
                <a:spcPts val="600"/>
              </a:spcBef>
              <a:buClr>
                <a:schemeClr val="accent2"/>
              </a:buClr>
              <a:buSzPct val="100000"/>
              <a:tabLst>
                <a:tab pos="914400" algn="l"/>
              </a:tabLst>
            </a:pPr>
            <a:r>
              <a:rPr lang="en-US" altLang="de-DE" sz="1600">
                <a:solidFill>
                  <a:schemeClr val="accent3"/>
                </a:solidFill>
                <a:cs typeface="Times New Roman"/>
              </a:rPr>
              <a:t>Employees</a:t>
            </a:r>
            <a:r>
              <a:rPr lang="en-US" altLang="de-DE" sz="1600">
                <a:cs typeface="Times New Roman"/>
              </a:rPr>
              <a:t> will always take precedence whenever there is a need for </a:t>
            </a:r>
            <a:r>
              <a:rPr lang="en-US" altLang="de-DE" sz="1600">
                <a:solidFill>
                  <a:schemeClr val="accent3"/>
                </a:solidFill>
                <a:cs typeface="Times New Roman"/>
              </a:rPr>
              <a:t>creativity, control, application, training, or troubleshooting</a:t>
            </a:r>
            <a:r>
              <a:rPr lang="en-US" altLang="de-DE" sz="1600">
                <a:cs typeface="Times New Roman"/>
              </a:rPr>
              <a:t>.</a:t>
            </a:r>
          </a:p>
        </p:txBody>
      </p:sp>
      <p:sp>
        <p:nvSpPr>
          <p:cNvPr id="20" name="Rechteck 19">
            <a:extLst>
              <a:ext uri="{FF2B5EF4-FFF2-40B4-BE49-F238E27FC236}">
                <a16:creationId xmlns:a16="http://schemas.microsoft.com/office/drawing/2014/main" id="{07D8F33F-E905-4707-85D5-EC99914E00A6}"/>
              </a:ext>
            </a:extLst>
          </p:cNvPr>
          <p:cNvSpPr>
            <a:spLocks/>
          </p:cNvSpPr>
          <p:nvPr/>
        </p:nvSpPr>
        <p:spPr>
          <a:xfrm>
            <a:off x="411166" y="2936768"/>
            <a:ext cx="2628799" cy="147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lvl="1">
              <a:spcBef>
                <a:spcPts val="600"/>
              </a:spcBef>
              <a:buClr>
                <a:schemeClr val="accent2"/>
              </a:buClr>
              <a:buSzPct val="100000"/>
              <a:tabLst>
                <a:tab pos="914400" algn="l"/>
              </a:tabLst>
            </a:pPr>
            <a:r>
              <a:rPr lang="en-US" sz="1600">
                <a:cs typeface="Times New Roman"/>
              </a:rPr>
              <a:t>AI will </a:t>
            </a:r>
            <a:r>
              <a:rPr lang="en-US" sz="1600">
                <a:solidFill>
                  <a:schemeClr val="accent3"/>
                </a:solidFill>
                <a:cs typeface="Times New Roman"/>
              </a:rPr>
              <a:t>not replace human workers in production</a:t>
            </a:r>
            <a:r>
              <a:rPr lang="en-US" sz="1600">
                <a:cs typeface="Times New Roman"/>
              </a:rPr>
              <a:t>. Rather, it will remain a supplementary function for a </a:t>
            </a:r>
            <a:r>
              <a:rPr lang="en-US" sz="1600">
                <a:solidFill>
                  <a:schemeClr val="accent3"/>
                </a:solidFill>
                <a:cs typeface="Times New Roman"/>
              </a:rPr>
              <a:t>fruitful collaboration of humans and machines</a:t>
            </a:r>
            <a:r>
              <a:rPr lang="en-US" sz="1600">
                <a:cs typeface="Times New Roman"/>
              </a:rPr>
              <a:t>. </a:t>
            </a:r>
          </a:p>
        </p:txBody>
      </p:sp>
      <p:sp>
        <p:nvSpPr>
          <p:cNvPr id="21" name="Rechteck 20">
            <a:extLst>
              <a:ext uri="{FF2B5EF4-FFF2-40B4-BE49-F238E27FC236}">
                <a16:creationId xmlns:a16="http://schemas.microsoft.com/office/drawing/2014/main" id="{7A460955-7068-4163-AD8F-022A6150853B}"/>
              </a:ext>
            </a:extLst>
          </p:cNvPr>
          <p:cNvSpPr>
            <a:spLocks/>
          </p:cNvSpPr>
          <p:nvPr/>
        </p:nvSpPr>
        <p:spPr>
          <a:xfrm>
            <a:off x="6244763" y="2936768"/>
            <a:ext cx="2628799" cy="147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lvl="1">
              <a:spcBef>
                <a:spcPts val="600"/>
              </a:spcBef>
              <a:buClr>
                <a:schemeClr val="accent2"/>
              </a:buClr>
              <a:buSzPct val="100000"/>
              <a:tabLst>
                <a:tab pos="914400" algn="l"/>
              </a:tabLst>
            </a:pPr>
            <a:r>
              <a:rPr lang="en-US" sz="1600">
                <a:cs typeface="Times New Roman"/>
              </a:rPr>
              <a:t>By automating simple, repetitive tasks </a:t>
            </a:r>
            <a:r>
              <a:rPr lang="en-US" sz="1600">
                <a:solidFill>
                  <a:schemeClr val="accent3"/>
                </a:solidFill>
                <a:cs typeface="Times New Roman"/>
              </a:rPr>
              <a:t>AI will make work more productive, </a:t>
            </a:r>
            <a:br>
              <a:rPr lang="en-US" sz="1600">
                <a:solidFill>
                  <a:schemeClr val="accent3"/>
                </a:solidFill>
                <a:cs typeface="Times New Roman"/>
              </a:rPr>
            </a:br>
            <a:r>
              <a:rPr lang="en-US" sz="1600">
                <a:solidFill>
                  <a:schemeClr val="accent3"/>
                </a:solidFill>
                <a:cs typeface="Times New Roman"/>
              </a:rPr>
              <a:t>less vulnerable </a:t>
            </a:r>
            <a:r>
              <a:rPr lang="en-US" sz="1600">
                <a:cs typeface="Times New Roman"/>
              </a:rPr>
              <a:t>to error and provide more time for creative work.</a:t>
            </a:r>
          </a:p>
        </p:txBody>
      </p:sp>
      <p:cxnSp>
        <p:nvCxnSpPr>
          <p:cNvPr id="22" name="Gerader Verbinder 21">
            <a:extLst>
              <a:ext uri="{FF2B5EF4-FFF2-40B4-BE49-F238E27FC236}">
                <a16:creationId xmlns:a16="http://schemas.microsoft.com/office/drawing/2014/main" id="{9E6F7D33-4622-4AD5-A8E9-9AEE2FF5495F}"/>
              </a:ext>
            </a:extLst>
          </p:cNvPr>
          <p:cNvCxnSpPr>
            <a:cxnSpLocks/>
          </p:cNvCxnSpPr>
          <p:nvPr/>
        </p:nvCxnSpPr>
        <p:spPr>
          <a:xfrm>
            <a:off x="411164" y="2724704"/>
            <a:ext cx="2628799" cy="0"/>
          </a:xfrm>
          <a:prstGeom prst="line">
            <a:avLst/>
          </a:prstGeom>
          <a:ln w="38100">
            <a:solidFill>
              <a:schemeClr val="accent3"/>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9D46E83-3A76-414C-AF5F-799A00467134}"/>
              </a:ext>
            </a:extLst>
          </p:cNvPr>
          <p:cNvCxnSpPr>
            <a:cxnSpLocks/>
          </p:cNvCxnSpPr>
          <p:nvPr/>
        </p:nvCxnSpPr>
        <p:spPr>
          <a:xfrm>
            <a:off x="3327963" y="2724704"/>
            <a:ext cx="2628799" cy="0"/>
          </a:xfrm>
          <a:prstGeom prst="line">
            <a:avLst/>
          </a:prstGeom>
          <a:ln w="38100">
            <a:solidFill>
              <a:schemeClr val="accent3"/>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91A261FA-C29F-4B0F-AE31-7B4BFAD583A2}"/>
              </a:ext>
            </a:extLst>
          </p:cNvPr>
          <p:cNvCxnSpPr>
            <a:cxnSpLocks/>
          </p:cNvCxnSpPr>
          <p:nvPr/>
        </p:nvCxnSpPr>
        <p:spPr>
          <a:xfrm>
            <a:off x="6244762" y="2724704"/>
            <a:ext cx="2628799" cy="0"/>
          </a:xfrm>
          <a:prstGeom prst="line">
            <a:avLst/>
          </a:prstGeom>
          <a:ln w="38100">
            <a:solidFill>
              <a:schemeClr val="accent3"/>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5" name="Rechteck 24">
            <a:extLst>
              <a:ext uri="{FF2B5EF4-FFF2-40B4-BE49-F238E27FC236}">
                <a16:creationId xmlns:a16="http://schemas.microsoft.com/office/drawing/2014/main" id="{61EDD1E6-09EA-4B0A-BD75-7E58C8A8C9C5}"/>
              </a:ext>
            </a:extLst>
          </p:cNvPr>
          <p:cNvSpPr>
            <a:spLocks/>
          </p:cNvSpPr>
          <p:nvPr/>
        </p:nvSpPr>
        <p:spPr>
          <a:xfrm>
            <a:off x="411164" y="2098981"/>
            <a:ext cx="11379197" cy="430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spAutoFit/>
          </a:bodyPr>
          <a:lstStyle/>
          <a:p>
            <a:pPr marL="0" lvl="1">
              <a:buSzPts val="1000"/>
              <a:tabLst>
                <a:tab pos="914400" algn="l"/>
              </a:tabLst>
            </a:pPr>
            <a:r>
              <a:rPr lang="en-US" sz="2800">
                <a:solidFill>
                  <a:schemeClr val="accent3"/>
                </a:solidFill>
                <a:cs typeface="Times New Roman"/>
              </a:rPr>
              <a:t>AI empowered employees</a:t>
            </a:r>
          </a:p>
        </p:txBody>
      </p:sp>
      <p:sp>
        <p:nvSpPr>
          <p:cNvPr id="26" name="Rechteck 25">
            <a:extLst>
              <a:ext uri="{FF2B5EF4-FFF2-40B4-BE49-F238E27FC236}">
                <a16:creationId xmlns:a16="http://schemas.microsoft.com/office/drawing/2014/main" id="{41D4B723-B51D-4F08-9553-94818FEE4384}"/>
              </a:ext>
            </a:extLst>
          </p:cNvPr>
          <p:cNvSpPr>
            <a:spLocks/>
          </p:cNvSpPr>
          <p:nvPr/>
        </p:nvSpPr>
        <p:spPr>
          <a:xfrm>
            <a:off x="3327964" y="2936768"/>
            <a:ext cx="2628799" cy="147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0" lvl="1">
              <a:spcBef>
                <a:spcPts val="600"/>
              </a:spcBef>
              <a:buClr>
                <a:schemeClr val="accent2"/>
              </a:buClr>
              <a:buSzPct val="100000"/>
              <a:tabLst>
                <a:tab pos="914400" algn="l"/>
              </a:tabLst>
            </a:pPr>
            <a:r>
              <a:rPr lang="en-US" sz="1600">
                <a:cs typeface="Times New Roman"/>
              </a:rPr>
              <a:t>People are and will be your most important resource. Giving them the tools, they need to </a:t>
            </a:r>
            <a:r>
              <a:rPr lang="en-US" sz="1600">
                <a:solidFill>
                  <a:schemeClr val="accent3"/>
                </a:solidFill>
                <a:cs typeface="Times New Roman"/>
              </a:rPr>
              <a:t>do their jobs safely and effectively </a:t>
            </a:r>
            <a:r>
              <a:rPr lang="en-US" sz="1600">
                <a:cs typeface="Times New Roman"/>
              </a:rPr>
              <a:t>is a main advantage of AI.</a:t>
            </a:r>
          </a:p>
        </p:txBody>
      </p:sp>
      <p:cxnSp>
        <p:nvCxnSpPr>
          <p:cNvPr id="27" name="Gerader Verbinder 26">
            <a:extLst>
              <a:ext uri="{FF2B5EF4-FFF2-40B4-BE49-F238E27FC236}">
                <a16:creationId xmlns:a16="http://schemas.microsoft.com/office/drawing/2014/main" id="{E8C04C31-1F0F-41B8-A1A9-112914DA7168}"/>
              </a:ext>
            </a:extLst>
          </p:cNvPr>
          <p:cNvCxnSpPr>
            <a:cxnSpLocks/>
          </p:cNvCxnSpPr>
          <p:nvPr/>
        </p:nvCxnSpPr>
        <p:spPr>
          <a:xfrm>
            <a:off x="9161562" y="2724704"/>
            <a:ext cx="2628799" cy="0"/>
          </a:xfrm>
          <a:prstGeom prst="line">
            <a:avLst/>
          </a:prstGeom>
          <a:ln w="38100">
            <a:solidFill>
              <a:schemeClr val="accent3"/>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3" name="Footer Placeholder 5">
            <a:extLst>
              <a:ext uri="{FF2B5EF4-FFF2-40B4-BE49-F238E27FC236}">
                <a16:creationId xmlns:a16="http://schemas.microsoft.com/office/drawing/2014/main" id="{6897BCC3-B58C-2D74-EF95-49FE3557FEFE}"/>
              </a:ext>
            </a:extLst>
          </p:cNvPr>
          <p:cNvSpPr>
            <a:spLocks noGrp="1"/>
          </p:cNvSpPr>
          <p:nvPr>
            <p:ph type="ftr" sz="quarter" idx="10"/>
          </p:nvPr>
        </p:nvSpPr>
        <p:spPr>
          <a:xfrm>
            <a:off x="1059160" y="6310800"/>
            <a:ext cx="9216000" cy="547200"/>
          </a:xfrm>
        </p:spPr>
        <p:txBody>
          <a:bodyPr/>
          <a:lstStyle/>
          <a:p>
            <a:r>
              <a:rPr lang="en-US" dirty="0"/>
              <a:t>Unrestricted | © Siemens 2023 | Industrial AI</a:t>
            </a:r>
          </a:p>
        </p:txBody>
      </p:sp>
    </p:spTree>
    <p:extLst>
      <p:ext uri="{BB962C8B-B14F-4D97-AF65-F5344CB8AC3E}">
        <p14:creationId xmlns:p14="http://schemas.microsoft.com/office/powerpoint/2010/main" val="20133666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extfeld 106">
            <a:extLst>
              <a:ext uri="{FF2B5EF4-FFF2-40B4-BE49-F238E27FC236}">
                <a16:creationId xmlns:a16="http://schemas.microsoft.com/office/drawing/2014/main" id="{D2EC7634-1496-0244-B0D4-9BD9A8F95325}"/>
              </a:ext>
            </a:extLst>
          </p:cNvPr>
          <p:cNvSpPr txBox="1"/>
          <p:nvPr/>
        </p:nvSpPr>
        <p:spPr>
          <a:xfrm>
            <a:off x="7259755" y="3374093"/>
            <a:ext cx="4082017" cy="830997"/>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5400" b="1">
                <a:solidFill>
                  <a:srgbClr val="00D7A0"/>
                </a:solidFill>
                <a:latin typeface="Arial"/>
              </a:rPr>
              <a:t>Industries</a:t>
            </a:r>
            <a:endParaRPr kumimoji="0" lang="en-US" sz="5400" b="1" i="0" u="none" strike="noStrike" kern="1200" cap="none" spc="0" normalizeH="0" baseline="0" noProof="0">
              <a:ln>
                <a:noFill/>
              </a:ln>
              <a:solidFill>
                <a:srgbClr val="00D7A0"/>
              </a:solidFill>
              <a:effectLst/>
              <a:uLnTx/>
              <a:uFillTx/>
              <a:latin typeface="Arial"/>
            </a:endParaRPr>
          </a:p>
        </p:txBody>
      </p:sp>
      <p:sp>
        <p:nvSpPr>
          <p:cNvPr id="56" name="Textfeld 55">
            <a:extLst>
              <a:ext uri="{FF2B5EF4-FFF2-40B4-BE49-F238E27FC236}">
                <a16:creationId xmlns:a16="http://schemas.microsoft.com/office/drawing/2014/main" id="{A6502190-C710-D243-B966-8D66A6DD1F22}"/>
              </a:ext>
            </a:extLst>
          </p:cNvPr>
          <p:cNvSpPr txBox="1"/>
          <p:nvPr/>
        </p:nvSpPr>
        <p:spPr>
          <a:xfrm>
            <a:off x="-178093" y="2960881"/>
            <a:ext cx="5051755" cy="1538883"/>
          </a:xfrm>
          <a:prstGeom prst="rect">
            <a:avLst/>
          </a:prstGeom>
          <a:noFill/>
        </p:spPr>
        <p:txBody>
          <a:bodyPr wrap="square" lIns="0" tIns="0" rIns="0" bIns="0" rtlCol="0">
            <a:spAutoFit/>
          </a:bodyPr>
          <a:lstStyle/>
          <a:p>
            <a:pPr marL="0" marR="0" lvl="0" indent="0" algn="r" defTabSz="914400" eaLnBrk="1" fontAlgn="auto" latinLnBrk="0" hangingPunct="1">
              <a:lnSpc>
                <a:spcPts val="6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00BEDC"/>
                </a:solidFill>
                <a:effectLst/>
                <a:uLnTx/>
                <a:uFillTx/>
                <a:latin typeface="Arial"/>
                <a:ea typeface="+mn-ea"/>
                <a:cs typeface="+mn-cs"/>
              </a:rPr>
              <a:t>Application areas</a:t>
            </a:r>
          </a:p>
        </p:txBody>
      </p:sp>
      <p:sp>
        <p:nvSpPr>
          <p:cNvPr id="104" name="Freeform 103">
            <a:extLst>
              <a:ext uri="{FF2B5EF4-FFF2-40B4-BE49-F238E27FC236}">
                <a16:creationId xmlns:a16="http://schemas.microsoft.com/office/drawing/2014/main" id="{F66F149C-6338-BF41-8404-CCDEE35C024C}"/>
              </a:ext>
            </a:extLst>
          </p:cNvPr>
          <p:cNvSpPr/>
          <p:nvPr/>
        </p:nvSpPr>
        <p:spPr bwMode="auto">
          <a:xfrm>
            <a:off x="5959331" y="4744217"/>
            <a:ext cx="50909" cy="901711"/>
          </a:xfrm>
          <a:custGeom>
            <a:avLst/>
            <a:gdLst>
              <a:gd name="connsiteX0" fmla="*/ 398721 w 398721"/>
              <a:gd name="connsiteY0" fmla="*/ 0 h 659219"/>
              <a:gd name="connsiteX1" fmla="*/ 0 w 398721"/>
              <a:gd name="connsiteY1" fmla="*/ 398721 h 659219"/>
              <a:gd name="connsiteX2" fmla="*/ 0 w 398721"/>
              <a:gd name="connsiteY2" fmla="*/ 659219 h 659219"/>
              <a:gd name="connsiteX0" fmla="*/ 398721 w 398721"/>
              <a:gd name="connsiteY0" fmla="*/ 0 h 1262434"/>
              <a:gd name="connsiteX1" fmla="*/ 0 w 398721"/>
              <a:gd name="connsiteY1" fmla="*/ 398721 h 1262434"/>
              <a:gd name="connsiteX2" fmla="*/ 0 w 398721"/>
              <a:gd name="connsiteY2" fmla="*/ 1262434 h 1262434"/>
              <a:gd name="connsiteX0" fmla="*/ 0 w 0"/>
              <a:gd name="connsiteY0" fmla="*/ 0 h 863713"/>
              <a:gd name="connsiteX1" fmla="*/ 0 w 0"/>
              <a:gd name="connsiteY1" fmla="*/ 863713 h 863713"/>
            </a:gdLst>
            <a:ahLst/>
            <a:cxnLst>
              <a:cxn ang="0">
                <a:pos x="connsiteX0" y="connsiteY0"/>
              </a:cxn>
              <a:cxn ang="0">
                <a:pos x="connsiteX1" y="connsiteY1"/>
              </a:cxn>
            </a:cxnLst>
            <a:rect l="l" t="t" r="r" b="b"/>
            <a:pathLst>
              <a:path h="863713">
                <a:moveTo>
                  <a:pt x="0" y="0"/>
                </a:moveTo>
                <a:lnTo>
                  <a:pt x="0" y="863713"/>
                </a:lnTo>
              </a:path>
            </a:pathLst>
          </a:custGeom>
          <a:noFill/>
          <a:ln w="19050">
            <a:solidFill>
              <a:srgbClr val="00E6DC"/>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lvl="0" indent="0" algn="l" defTabSz="913943" eaLnBrk="1" fontAlgn="base" latinLnBrk="0" hangingPunct="1">
              <a:lnSpc>
                <a:spcPct val="100000"/>
              </a:lnSpc>
              <a:spcBef>
                <a:spcPct val="50000"/>
              </a:spcBef>
              <a:spcAft>
                <a:spcPct val="0"/>
              </a:spcAft>
              <a:buClrTx/>
              <a:buSzTx/>
              <a:buFontTx/>
              <a:buNone/>
              <a:tabLst/>
              <a:defRPr/>
            </a:pPr>
            <a:endParaRPr kumimoji="0" lang="en-US" sz="2399" b="0" i="0" u="none" strike="noStrike" kern="1200" cap="none" spc="0" normalizeH="0" baseline="0" noProof="0">
              <a:ln>
                <a:noFill/>
              </a:ln>
              <a:solidFill>
                <a:srgbClr val="000000"/>
              </a:solidFill>
              <a:effectLst/>
              <a:uLnTx/>
              <a:uFillTx/>
              <a:latin typeface="Arial"/>
              <a:ea typeface="ヒラギノ角ゴ Pro W3" charset="0"/>
              <a:cs typeface="+mn-cs"/>
            </a:endParaRPr>
          </a:p>
        </p:txBody>
      </p:sp>
      <p:graphicFrame>
        <p:nvGraphicFramePr>
          <p:cNvPr id="28" name="Objekt 27" hidden="1"/>
          <p:cNvGraphicFramePr>
            <a:graphicFrameLocks noChangeAspect="1"/>
          </p:cNvGraphicFramePr>
          <p:nvPr>
            <p:custDataLst>
              <p:tags r:id="rId1"/>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28" name="Objekt 2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337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9" name="Gruppieren 48">
            <a:extLst>
              <a:ext uri="{FF2B5EF4-FFF2-40B4-BE49-F238E27FC236}">
                <a16:creationId xmlns:a16="http://schemas.microsoft.com/office/drawing/2014/main" id="{288B9E28-0DB8-9F40-81A4-5202CED3CD70}"/>
              </a:ext>
            </a:extLst>
          </p:cNvPr>
          <p:cNvGrpSpPr/>
          <p:nvPr/>
        </p:nvGrpSpPr>
        <p:grpSpPr>
          <a:xfrm>
            <a:off x="6580715" y="3432135"/>
            <a:ext cx="3279123" cy="553983"/>
            <a:chOff x="6580715" y="3432135"/>
            <a:chExt cx="3279123" cy="553983"/>
          </a:xfrm>
        </p:grpSpPr>
        <p:sp>
          <p:nvSpPr>
            <p:cNvPr id="114" name="Freeform 113">
              <a:extLst>
                <a:ext uri="{FF2B5EF4-FFF2-40B4-BE49-F238E27FC236}">
                  <a16:creationId xmlns:a16="http://schemas.microsoft.com/office/drawing/2014/main" id="{7BCC7EE0-892E-DF49-9A4B-217E9EE1B81E}"/>
                </a:ext>
              </a:extLst>
            </p:cNvPr>
            <p:cNvSpPr/>
            <p:nvPr/>
          </p:nvSpPr>
          <p:spPr bwMode="auto">
            <a:xfrm>
              <a:off x="6580715" y="3695924"/>
              <a:ext cx="2818769" cy="290194"/>
            </a:xfrm>
            <a:custGeom>
              <a:avLst/>
              <a:gdLst>
                <a:gd name="connsiteX0" fmla="*/ 0 w 2912533"/>
                <a:gd name="connsiteY0" fmla="*/ 386080 h 386080"/>
                <a:gd name="connsiteX1" fmla="*/ 1774613 w 2912533"/>
                <a:gd name="connsiteY1" fmla="*/ 386080 h 386080"/>
                <a:gd name="connsiteX2" fmla="*/ 2160693 w 2912533"/>
                <a:gd name="connsiteY2" fmla="*/ 0 h 386080"/>
                <a:gd name="connsiteX3" fmla="*/ 2912533 w 2912533"/>
                <a:gd name="connsiteY3" fmla="*/ 0 h 386080"/>
                <a:gd name="connsiteX0" fmla="*/ 0 w 4400151"/>
                <a:gd name="connsiteY0" fmla="*/ 396681 h 396681"/>
                <a:gd name="connsiteX1" fmla="*/ 3262231 w 4400151"/>
                <a:gd name="connsiteY1" fmla="*/ 386080 h 396681"/>
                <a:gd name="connsiteX2" fmla="*/ 3648311 w 4400151"/>
                <a:gd name="connsiteY2" fmla="*/ 0 h 396681"/>
                <a:gd name="connsiteX3" fmla="*/ 4400151 w 4400151"/>
                <a:gd name="connsiteY3" fmla="*/ 0 h 396681"/>
                <a:gd name="connsiteX0" fmla="*/ 0 w 4400151"/>
                <a:gd name="connsiteY0" fmla="*/ 396681 h 396681"/>
                <a:gd name="connsiteX1" fmla="*/ 3262231 w 4400151"/>
                <a:gd name="connsiteY1" fmla="*/ 386080 h 396681"/>
                <a:gd name="connsiteX2" fmla="*/ 3648311 w 4400151"/>
                <a:gd name="connsiteY2" fmla="*/ 0 h 396681"/>
                <a:gd name="connsiteX3" fmla="*/ 4400151 w 4400151"/>
                <a:gd name="connsiteY3" fmla="*/ 0 h 396681"/>
                <a:gd name="connsiteX0" fmla="*/ 0 w 3060239"/>
                <a:gd name="connsiteY0" fmla="*/ 396681 h 396681"/>
                <a:gd name="connsiteX1" fmla="*/ 1922319 w 3060239"/>
                <a:gd name="connsiteY1" fmla="*/ 386080 h 396681"/>
                <a:gd name="connsiteX2" fmla="*/ 2308399 w 3060239"/>
                <a:gd name="connsiteY2" fmla="*/ 0 h 396681"/>
                <a:gd name="connsiteX3" fmla="*/ 3060239 w 3060239"/>
                <a:gd name="connsiteY3" fmla="*/ 0 h 396681"/>
                <a:gd name="connsiteX0" fmla="*/ 0 w 3925379"/>
                <a:gd name="connsiteY0" fmla="*/ 407282 h 407282"/>
                <a:gd name="connsiteX1" fmla="*/ 2787459 w 3925379"/>
                <a:gd name="connsiteY1" fmla="*/ 386080 h 407282"/>
                <a:gd name="connsiteX2" fmla="*/ 3173539 w 3925379"/>
                <a:gd name="connsiteY2" fmla="*/ 0 h 407282"/>
                <a:gd name="connsiteX3" fmla="*/ 3925379 w 3925379"/>
                <a:gd name="connsiteY3" fmla="*/ 0 h 407282"/>
                <a:gd name="connsiteX0" fmla="*/ 0 w 3957030"/>
                <a:gd name="connsiteY0" fmla="*/ 407282 h 407282"/>
                <a:gd name="connsiteX1" fmla="*/ 2819110 w 3957030"/>
                <a:gd name="connsiteY1" fmla="*/ 386080 h 407282"/>
                <a:gd name="connsiteX2" fmla="*/ 3205190 w 3957030"/>
                <a:gd name="connsiteY2" fmla="*/ 0 h 407282"/>
                <a:gd name="connsiteX3" fmla="*/ 3957030 w 3957030"/>
                <a:gd name="connsiteY3" fmla="*/ 0 h 407282"/>
                <a:gd name="connsiteX0" fmla="*/ 0 w 4009782"/>
                <a:gd name="connsiteY0" fmla="*/ 417883 h 417883"/>
                <a:gd name="connsiteX1" fmla="*/ 2871862 w 4009782"/>
                <a:gd name="connsiteY1" fmla="*/ 386080 h 417883"/>
                <a:gd name="connsiteX2" fmla="*/ 3257942 w 4009782"/>
                <a:gd name="connsiteY2" fmla="*/ 0 h 417883"/>
                <a:gd name="connsiteX3" fmla="*/ 4009782 w 4009782"/>
                <a:gd name="connsiteY3" fmla="*/ 0 h 417883"/>
                <a:gd name="connsiteX0" fmla="*/ 0 w 3966188"/>
                <a:gd name="connsiteY0" fmla="*/ 413503 h 413503"/>
                <a:gd name="connsiteX1" fmla="*/ 2828268 w 3966188"/>
                <a:gd name="connsiteY1" fmla="*/ 386080 h 413503"/>
                <a:gd name="connsiteX2" fmla="*/ 3214348 w 3966188"/>
                <a:gd name="connsiteY2" fmla="*/ 0 h 413503"/>
                <a:gd name="connsiteX3" fmla="*/ 3966188 w 3966188"/>
                <a:gd name="connsiteY3" fmla="*/ 0 h 413503"/>
                <a:gd name="connsiteX0" fmla="*/ 0 w 3909516"/>
                <a:gd name="connsiteY0" fmla="*/ 409123 h 409123"/>
                <a:gd name="connsiteX1" fmla="*/ 2771596 w 3909516"/>
                <a:gd name="connsiteY1" fmla="*/ 386080 h 409123"/>
                <a:gd name="connsiteX2" fmla="*/ 3157676 w 3909516"/>
                <a:gd name="connsiteY2" fmla="*/ 0 h 409123"/>
                <a:gd name="connsiteX3" fmla="*/ 3909516 w 3909516"/>
                <a:gd name="connsiteY3" fmla="*/ 0 h 409123"/>
                <a:gd name="connsiteX0" fmla="*/ 0 w 3892078"/>
                <a:gd name="connsiteY0" fmla="*/ 404743 h 404743"/>
                <a:gd name="connsiteX1" fmla="*/ 2754158 w 3892078"/>
                <a:gd name="connsiteY1" fmla="*/ 386080 h 404743"/>
                <a:gd name="connsiteX2" fmla="*/ 3140238 w 3892078"/>
                <a:gd name="connsiteY2" fmla="*/ 0 h 404743"/>
                <a:gd name="connsiteX3" fmla="*/ 3892078 w 3892078"/>
                <a:gd name="connsiteY3" fmla="*/ 0 h 404743"/>
                <a:gd name="connsiteX0" fmla="*/ 0 w 3870281"/>
                <a:gd name="connsiteY0" fmla="*/ 400363 h 400363"/>
                <a:gd name="connsiteX1" fmla="*/ 2732361 w 3870281"/>
                <a:gd name="connsiteY1" fmla="*/ 386080 h 400363"/>
                <a:gd name="connsiteX2" fmla="*/ 3118441 w 3870281"/>
                <a:gd name="connsiteY2" fmla="*/ 0 h 400363"/>
                <a:gd name="connsiteX3" fmla="*/ 3870281 w 3870281"/>
                <a:gd name="connsiteY3" fmla="*/ 0 h 400363"/>
              </a:gdLst>
              <a:ahLst/>
              <a:cxnLst>
                <a:cxn ang="0">
                  <a:pos x="connsiteX0" y="connsiteY0"/>
                </a:cxn>
                <a:cxn ang="0">
                  <a:pos x="connsiteX1" y="connsiteY1"/>
                </a:cxn>
                <a:cxn ang="0">
                  <a:pos x="connsiteX2" y="connsiteY2"/>
                </a:cxn>
                <a:cxn ang="0">
                  <a:pos x="connsiteX3" y="connsiteY3"/>
                </a:cxn>
              </a:cxnLst>
              <a:rect l="l" t="t" r="r" b="b"/>
              <a:pathLst>
                <a:path w="3870281" h="400363">
                  <a:moveTo>
                    <a:pt x="0" y="400363"/>
                  </a:moveTo>
                  <a:lnTo>
                    <a:pt x="2732361" y="386080"/>
                  </a:lnTo>
                  <a:lnTo>
                    <a:pt x="3118441" y="0"/>
                  </a:lnTo>
                  <a:lnTo>
                    <a:pt x="3870281" y="0"/>
                  </a:lnTo>
                </a:path>
              </a:pathLst>
            </a:custGeom>
            <a:noFill/>
            <a:ln w="19050">
              <a:solidFill>
                <a:schemeClr val="accent2"/>
              </a:solidFill>
              <a:prstDash val="solid"/>
              <a:miter lim="800000"/>
              <a:headEnd/>
              <a:tailEnd/>
              <a:extLst>
                <a:ext uri="{C807C97D-BFC1-408E-A445-0C87EB9F89A2}">
                  <ask:lineSketchStyleProps xmlns:ask="http://schemas.microsoft.com/office/drawing/2018/sketchyshapes">
                    <ask:type>
                      <ask:lineSketchNone/>
                    </ask:type>
                  </ask:lineSketchStyleProps>
                </a:ext>
              </a:extLst>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lvl="0" indent="0" algn="l" defTabSz="913943" eaLnBrk="1" fontAlgn="base" latinLnBrk="0" hangingPunct="1">
                <a:lnSpc>
                  <a:spcPct val="100000"/>
                </a:lnSpc>
                <a:spcBef>
                  <a:spcPct val="50000"/>
                </a:spcBef>
                <a:spcAft>
                  <a:spcPct val="0"/>
                </a:spcAft>
                <a:buClrTx/>
                <a:buSzTx/>
                <a:buFontTx/>
                <a:buNone/>
                <a:tabLst/>
                <a:defRPr/>
              </a:pPr>
              <a:endParaRPr kumimoji="0" lang="en-US" sz="2399" b="0" i="0" u="none" strike="noStrike" kern="1200" cap="none" spc="0" normalizeH="0" baseline="0" noProof="0">
                <a:ln>
                  <a:noFill/>
                </a:ln>
                <a:solidFill>
                  <a:srgbClr val="00FFB9"/>
                </a:solidFill>
                <a:effectLst/>
                <a:uLnTx/>
                <a:uFillTx/>
                <a:latin typeface="Arial"/>
                <a:ea typeface="ヒラギノ角ゴ Pro W3" charset="0"/>
                <a:cs typeface="+mn-cs"/>
              </a:endParaRPr>
            </a:p>
          </p:txBody>
        </p:sp>
        <p:sp>
          <p:nvSpPr>
            <p:cNvPr id="118" name="Grafik 9">
              <a:extLst>
                <a:ext uri="{FF2B5EF4-FFF2-40B4-BE49-F238E27FC236}">
                  <a16:creationId xmlns:a16="http://schemas.microsoft.com/office/drawing/2014/main" id="{FE25B2A9-35A3-814B-A012-4A89C7A8B8FB}"/>
                </a:ext>
              </a:extLst>
            </p:cNvPr>
            <p:cNvSpPr/>
            <p:nvPr/>
          </p:nvSpPr>
          <p:spPr>
            <a:xfrm>
              <a:off x="9408852" y="3432135"/>
              <a:ext cx="450986" cy="504135"/>
            </a:xfrm>
            <a:custGeom>
              <a:avLst/>
              <a:gdLst>
                <a:gd name="connsiteX0" fmla="*/ 1210628 w 3639311"/>
                <a:gd name="connsiteY0" fmla="*/ 4040886 h 4087749"/>
                <a:gd name="connsiteX1" fmla="*/ 0 w 3639311"/>
                <a:gd name="connsiteY1" fmla="*/ 2040922 h 4087749"/>
                <a:gd name="connsiteX2" fmla="*/ 1218057 w 3639311"/>
                <a:gd name="connsiteY2" fmla="*/ 51721 h 4087749"/>
                <a:gd name="connsiteX3" fmla="*/ 1231392 w 3639311"/>
                <a:gd name="connsiteY3" fmla="*/ 51626 h 4087749"/>
                <a:gd name="connsiteX4" fmla="*/ 1194721 w 3639311"/>
                <a:gd name="connsiteY4" fmla="*/ 136779 h 4087749"/>
                <a:gd name="connsiteX5" fmla="*/ 1100233 w 3639311"/>
                <a:gd name="connsiteY5" fmla="*/ 168116 h 4087749"/>
                <a:gd name="connsiteX6" fmla="*/ 895350 w 3639311"/>
                <a:gd name="connsiteY6" fmla="*/ 265367 h 4087749"/>
                <a:gd name="connsiteX7" fmla="*/ 835819 w 3639311"/>
                <a:gd name="connsiteY7" fmla="*/ 467773 h 4087749"/>
                <a:gd name="connsiteX8" fmla="*/ 814102 w 3639311"/>
                <a:gd name="connsiteY8" fmla="*/ 581311 h 4087749"/>
                <a:gd name="connsiteX9" fmla="*/ 721233 w 3639311"/>
                <a:gd name="connsiteY9" fmla="*/ 631508 h 4087749"/>
                <a:gd name="connsiteX10" fmla="*/ 539306 w 3639311"/>
                <a:gd name="connsiteY10" fmla="*/ 759143 h 4087749"/>
                <a:gd name="connsiteX11" fmla="*/ 517112 w 3639311"/>
                <a:gd name="connsiteY11" fmla="*/ 974408 h 4087749"/>
                <a:gd name="connsiteX12" fmla="*/ 517684 w 3639311"/>
                <a:gd name="connsiteY12" fmla="*/ 1086422 h 4087749"/>
                <a:gd name="connsiteX13" fmla="*/ 436721 w 3639311"/>
                <a:gd name="connsiteY13" fmla="*/ 1156145 h 4087749"/>
                <a:gd name="connsiteX14" fmla="*/ 286226 w 3639311"/>
                <a:gd name="connsiteY14" fmla="*/ 1320737 h 4087749"/>
                <a:gd name="connsiteX15" fmla="*/ 315373 w 3639311"/>
                <a:gd name="connsiteY15" fmla="*/ 1537811 h 4087749"/>
                <a:gd name="connsiteX16" fmla="*/ 342710 w 3639311"/>
                <a:gd name="connsiteY16" fmla="*/ 1645825 h 4087749"/>
                <a:gd name="connsiteX17" fmla="*/ 283274 w 3639311"/>
                <a:gd name="connsiteY17" fmla="*/ 1733360 h 4087749"/>
                <a:gd name="connsiteX18" fmla="*/ 180880 w 3639311"/>
                <a:gd name="connsiteY18" fmla="*/ 1934432 h 4087749"/>
                <a:gd name="connsiteX19" fmla="*/ 271367 w 3639311"/>
                <a:gd name="connsiteY19" fmla="*/ 2151221 h 4087749"/>
                <a:gd name="connsiteX20" fmla="*/ 328898 w 3639311"/>
                <a:gd name="connsiteY20" fmla="*/ 2254568 h 4087749"/>
                <a:gd name="connsiteX21" fmla="*/ 298133 w 3639311"/>
                <a:gd name="connsiteY21" fmla="*/ 2372868 h 4087749"/>
                <a:gd name="connsiteX22" fmla="*/ 263366 w 3639311"/>
                <a:gd name="connsiteY22" fmla="*/ 2599658 h 4087749"/>
                <a:gd name="connsiteX23" fmla="*/ 408337 w 3639311"/>
                <a:gd name="connsiteY23" fmla="*/ 2779205 h 4087749"/>
                <a:gd name="connsiteX24" fmla="*/ 492728 w 3639311"/>
                <a:gd name="connsiteY24" fmla="*/ 2864263 h 4087749"/>
                <a:gd name="connsiteX25" fmla="*/ 491490 w 3639311"/>
                <a:gd name="connsiteY25" fmla="*/ 2987897 h 4087749"/>
                <a:gd name="connsiteX26" fmla="*/ 509969 w 3639311"/>
                <a:gd name="connsiteY26" fmla="*/ 3212306 h 4087749"/>
                <a:gd name="connsiteX27" fmla="*/ 688467 w 3639311"/>
                <a:gd name="connsiteY27" fmla="*/ 3356991 h 4087749"/>
                <a:gd name="connsiteX28" fmla="*/ 787146 w 3639311"/>
                <a:gd name="connsiteY28" fmla="*/ 3422237 h 4087749"/>
                <a:gd name="connsiteX29" fmla="*/ 809054 w 3639311"/>
                <a:gd name="connsiteY29" fmla="*/ 3548444 h 4087749"/>
                <a:gd name="connsiteX30" fmla="*/ 863632 w 3639311"/>
                <a:gd name="connsiteY30" fmla="*/ 3760184 h 4087749"/>
                <a:gd name="connsiteX31" fmla="*/ 1066800 w 3639311"/>
                <a:gd name="connsiteY31" fmla="*/ 3878104 h 4087749"/>
                <a:gd name="connsiteX32" fmla="*/ 1168527 w 3639311"/>
                <a:gd name="connsiteY32" fmla="*/ 3923919 h 4087749"/>
                <a:gd name="connsiteX33" fmla="*/ 1210628 w 3639311"/>
                <a:gd name="connsiteY33" fmla="*/ 4040886 h 4087749"/>
                <a:gd name="connsiteX34" fmla="*/ 1601438 w 3639311"/>
                <a:gd name="connsiteY34" fmla="*/ 3922681 h 4087749"/>
                <a:gd name="connsiteX35" fmla="*/ 1572768 w 3639311"/>
                <a:gd name="connsiteY35" fmla="*/ 3801999 h 4087749"/>
                <a:gd name="connsiteX36" fmla="*/ 1487138 w 3639311"/>
                <a:gd name="connsiteY36" fmla="*/ 3764947 h 4087749"/>
                <a:gd name="connsiteX37" fmla="*/ 1295686 w 3639311"/>
                <a:gd name="connsiteY37" fmla="*/ 3648837 h 4087749"/>
                <a:gd name="connsiteX38" fmla="*/ 1262920 w 3639311"/>
                <a:gd name="connsiteY38" fmla="*/ 3444621 h 4087749"/>
                <a:gd name="connsiteX39" fmla="*/ 1256919 w 3639311"/>
                <a:gd name="connsiteY39" fmla="*/ 3334417 h 4087749"/>
                <a:gd name="connsiteX40" fmla="*/ 1174528 w 3639311"/>
                <a:gd name="connsiteY40" fmla="*/ 3279458 h 4087749"/>
                <a:gd name="connsiteX41" fmla="*/ 1009269 w 3639311"/>
                <a:gd name="connsiteY41" fmla="*/ 3135725 h 4087749"/>
                <a:gd name="connsiteX42" fmla="*/ 1013651 w 3639311"/>
                <a:gd name="connsiteY42" fmla="*/ 2924747 h 4087749"/>
                <a:gd name="connsiteX43" fmla="*/ 1027938 w 3639311"/>
                <a:gd name="connsiteY43" fmla="*/ 2818353 h 4087749"/>
                <a:gd name="connsiteX44" fmla="*/ 957167 w 3639311"/>
                <a:gd name="connsiteY44" fmla="*/ 2747201 h 4087749"/>
                <a:gd name="connsiteX45" fmla="*/ 824008 w 3639311"/>
                <a:gd name="connsiteY45" fmla="*/ 2573655 h 4087749"/>
                <a:gd name="connsiteX46" fmla="*/ 872585 w 3639311"/>
                <a:gd name="connsiteY46" fmla="*/ 2366582 h 4087749"/>
                <a:gd name="connsiteX47" fmla="*/ 908971 w 3639311"/>
                <a:gd name="connsiteY47" fmla="*/ 2266283 h 4087749"/>
                <a:gd name="connsiteX48" fmla="*/ 855917 w 3639311"/>
                <a:gd name="connsiteY48" fmla="*/ 2181511 h 4087749"/>
                <a:gd name="connsiteX49" fmla="*/ 764477 w 3639311"/>
                <a:gd name="connsiteY49" fmla="*/ 1981772 h 4087749"/>
                <a:gd name="connsiteX50" fmla="*/ 862013 w 3639311"/>
                <a:gd name="connsiteY50" fmla="*/ 1787747 h 4087749"/>
                <a:gd name="connsiteX51" fmla="*/ 916305 w 3639311"/>
                <a:gd name="connsiteY51" fmla="*/ 1708976 h 4087749"/>
                <a:gd name="connsiteX52" fmla="*/ 882396 w 3639311"/>
                <a:gd name="connsiteY52" fmla="*/ 1611821 h 4087749"/>
                <a:gd name="connsiteX53" fmla="*/ 838105 w 3639311"/>
                <a:gd name="connsiteY53" fmla="*/ 1406843 h 4087749"/>
                <a:gd name="connsiteX54" fmla="*/ 975836 w 3639311"/>
                <a:gd name="connsiteY54" fmla="*/ 1239869 h 4087749"/>
                <a:gd name="connsiteX55" fmla="*/ 1046417 w 3639311"/>
                <a:gd name="connsiteY55" fmla="*/ 1174814 h 4087749"/>
                <a:gd name="connsiteX56" fmla="*/ 1034129 w 3639311"/>
                <a:gd name="connsiteY56" fmla="*/ 1072229 h 4087749"/>
                <a:gd name="connsiteX57" fmla="*/ 1034320 w 3639311"/>
                <a:gd name="connsiteY57" fmla="*/ 863822 h 4087749"/>
                <a:gd name="connsiteX58" fmla="*/ 1203579 w 3639311"/>
                <a:gd name="connsiteY58" fmla="*/ 728377 h 4087749"/>
                <a:gd name="connsiteX59" fmla="*/ 1284923 w 3639311"/>
                <a:gd name="connsiteY59" fmla="*/ 679799 h 4087749"/>
                <a:gd name="connsiteX60" fmla="*/ 1293019 w 3639311"/>
                <a:gd name="connsiteY60" fmla="*/ 573977 h 4087749"/>
                <a:gd name="connsiteX61" fmla="*/ 1331405 w 3639311"/>
                <a:gd name="connsiteY61" fmla="*/ 372999 h 4087749"/>
                <a:gd name="connsiteX62" fmla="*/ 1526286 w 3639311"/>
                <a:gd name="connsiteY62" fmla="*/ 267653 h 4087749"/>
                <a:gd name="connsiteX63" fmla="*/ 1610201 w 3639311"/>
                <a:gd name="connsiteY63" fmla="*/ 237173 h 4087749"/>
                <a:gd name="connsiteX64" fmla="*/ 1641443 w 3639311"/>
                <a:gd name="connsiteY64" fmla="*/ 122015 h 4087749"/>
                <a:gd name="connsiteX65" fmla="*/ 1659541 w 3639311"/>
                <a:gd name="connsiteY65" fmla="*/ 26861 h 4087749"/>
                <a:gd name="connsiteX66" fmla="*/ 1408843 w 3639311"/>
                <a:gd name="connsiteY66" fmla="*/ 42672 h 4087749"/>
                <a:gd name="connsiteX67" fmla="*/ 1406557 w 3639311"/>
                <a:gd name="connsiteY67" fmla="*/ 52769 h 4087749"/>
                <a:gd name="connsiteX68" fmla="*/ 1315593 w 3639311"/>
                <a:gd name="connsiteY68" fmla="*/ 257175 h 4087749"/>
                <a:gd name="connsiteX69" fmla="*/ 1138333 w 3639311"/>
                <a:gd name="connsiteY69" fmla="*/ 334328 h 4087749"/>
                <a:gd name="connsiteX70" fmla="*/ 1024890 w 3639311"/>
                <a:gd name="connsiteY70" fmla="*/ 376428 h 4087749"/>
                <a:gd name="connsiteX71" fmla="*/ 1006031 w 3639311"/>
                <a:gd name="connsiteY71" fmla="*/ 480155 h 4087749"/>
                <a:gd name="connsiteX72" fmla="*/ 952405 w 3639311"/>
                <a:gd name="connsiteY72" fmla="*/ 681419 h 4087749"/>
                <a:gd name="connsiteX73" fmla="*/ 786479 w 3639311"/>
                <a:gd name="connsiteY73" fmla="*/ 789242 h 4087749"/>
                <a:gd name="connsiteX74" fmla="*/ 686372 w 3639311"/>
                <a:gd name="connsiteY74" fmla="*/ 845915 h 4087749"/>
                <a:gd name="connsiteX75" fmla="*/ 686657 w 3639311"/>
                <a:gd name="connsiteY75" fmla="*/ 954691 h 4087749"/>
                <a:gd name="connsiteX76" fmla="*/ 673132 w 3639311"/>
                <a:gd name="connsiteY76" fmla="*/ 1157002 h 4087749"/>
                <a:gd name="connsiteX77" fmla="*/ 533876 w 3639311"/>
                <a:gd name="connsiteY77" fmla="*/ 1296448 h 4087749"/>
                <a:gd name="connsiteX78" fmla="*/ 449009 w 3639311"/>
                <a:gd name="connsiteY78" fmla="*/ 1372076 h 4087749"/>
                <a:gd name="connsiteX79" fmla="*/ 475298 w 3639311"/>
                <a:gd name="connsiteY79" fmla="*/ 1478185 h 4087749"/>
                <a:gd name="connsiteX80" fmla="*/ 510921 w 3639311"/>
                <a:gd name="connsiteY80" fmla="*/ 1675067 h 4087749"/>
                <a:gd name="connsiteX81" fmla="*/ 413861 w 3639311"/>
                <a:gd name="connsiteY81" fmla="*/ 1843278 h 4087749"/>
                <a:gd name="connsiteX82" fmla="*/ 351473 w 3639311"/>
                <a:gd name="connsiteY82" fmla="*/ 1939481 h 4087749"/>
                <a:gd name="connsiteX83" fmla="*/ 410813 w 3639311"/>
                <a:gd name="connsiteY83" fmla="*/ 2052923 h 4087749"/>
                <a:gd name="connsiteX84" fmla="*/ 498158 w 3639311"/>
                <a:gd name="connsiteY84" fmla="*/ 2233136 h 4087749"/>
                <a:gd name="connsiteX85" fmla="*/ 457486 w 3639311"/>
                <a:gd name="connsiteY85" fmla="*/ 2433923 h 4087749"/>
                <a:gd name="connsiteX86" fmla="*/ 428054 w 3639311"/>
                <a:gd name="connsiteY86" fmla="*/ 2554891 h 4087749"/>
                <a:gd name="connsiteX87" fmla="*/ 515588 w 3639311"/>
                <a:gd name="connsiteY87" fmla="*/ 2646521 h 4087749"/>
                <a:gd name="connsiteX88" fmla="*/ 650843 w 3639311"/>
                <a:gd name="connsiteY88" fmla="*/ 2800064 h 4087749"/>
                <a:gd name="connsiteX89" fmla="*/ 660749 w 3639311"/>
                <a:gd name="connsiteY89" fmla="*/ 3009043 h 4087749"/>
                <a:gd name="connsiteX90" fmla="*/ 660654 w 3639311"/>
                <a:gd name="connsiteY90" fmla="*/ 3132296 h 4087749"/>
                <a:gd name="connsiteX91" fmla="*/ 766382 w 3639311"/>
                <a:gd name="connsiteY91" fmla="*/ 3205163 h 4087749"/>
                <a:gd name="connsiteX92" fmla="*/ 930307 w 3639311"/>
                <a:gd name="connsiteY92" fmla="*/ 3329273 h 4087749"/>
                <a:gd name="connsiteX93" fmla="*/ 979456 w 3639311"/>
                <a:gd name="connsiteY93" fmla="*/ 3539490 h 4087749"/>
                <a:gd name="connsiteX94" fmla="*/ 999363 w 3639311"/>
                <a:gd name="connsiteY94" fmla="*/ 3656648 h 4087749"/>
                <a:gd name="connsiteX95" fmla="*/ 1120616 w 3639311"/>
                <a:gd name="connsiteY95" fmla="*/ 3716084 h 4087749"/>
                <a:gd name="connsiteX96" fmla="*/ 1296924 w 3639311"/>
                <a:gd name="connsiteY96" fmla="*/ 3811334 h 4087749"/>
                <a:gd name="connsiteX97" fmla="*/ 1382173 w 3639311"/>
                <a:gd name="connsiteY97" fmla="*/ 4027646 h 4087749"/>
                <a:gd name="connsiteX98" fmla="*/ 1386078 w 3639311"/>
                <a:gd name="connsiteY98" fmla="*/ 4047363 h 4087749"/>
                <a:gd name="connsiteX99" fmla="*/ 1631918 w 3639311"/>
                <a:gd name="connsiteY99" fmla="*/ 4061555 h 4087749"/>
                <a:gd name="connsiteX100" fmla="*/ 1601438 w 3639311"/>
                <a:gd name="connsiteY100" fmla="*/ 3922681 h 4087749"/>
                <a:gd name="connsiteX101" fmla="*/ 1734122 w 3639311"/>
                <a:gd name="connsiteY101" fmla="*/ 3530251 h 4087749"/>
                <a:gd name="connsiteX102" fmla="*/ 1395413 w 3639311"/>
                <a:gd name="connsiteY102" fmla="*/ 2044446 h 4087749"/>
                <a:gd name="connsiteX103" fmla="*/ 1734122 w 3639311"/>
                <a:gd name="connsiteY103" fmla="*/ 558641 h 4087749"/>
                <a:gd name="connsiteX104" fmla="*/ 2261235 w 3639311"/>
                <a:gd name="connsiteY104" fmla="*/ 0 h 4087749"/>
                <a:gd name="connsiteX105" fmla="*/ 2094167 w 3639311"/>
                <a:gd name="connsiteY105" fmla="*/ 4858 h 4087749"/>
                <a:gd name="connsiteX106" fmla="*/ 1916906 w 3639311"/>
                <a:gd name="connsiteY106" fmla="*/ 37433 h 4087749"/>
                <a:gd name="connsiteX107" fmla="*/ 1826990 w 3639311"/>
                <a:gd name="connsiteY107" fmla="*/ 64770 h 4087749"/>
                <a:gd name="connsiteX108" fmla="*/ 1810131 w 3639311"/>
                <a:gd name="connsiteY108" fmla="*/ 145066 h 4087749"/>
                <a:gd name="connsiteX109" fmla="*/ 1738217 w 3639311"/>
                <a:gd name="connsiteY109" fmla="*/ 349377 h 4087749"/>
                <a:gd name="connsiteX110" fmla="*/ 1570577 w 3639311"/>
                <a:gd name="connsiteY110" fmla="*/ 432149 h 4087749"/>
                <a:gd name="connsiteX111" fmla="*/ 1468564 w 3639311"/>
                <a:gd name="connsiteY111" fmla="*/ 473964 h 4087749"/>
                <a:gd name="connsiteX112" fmla="*/ 1463231 w 3639311"/>
                <a:gd name="connsiteY112" fmla="*/ 567690 h 4087749"/>
                <a:gd name="connsiteX113" fmla="*/ 1430560 w 3639311"/>
                <a:gd name="connsiteY113" fmla="*/ 768191 h 4087749"/>
                <a:gd name="connsiteX114" fmla="*/ 1276636 w 3639311"/>
                <a:gd name="connsiteY114" fmla="*/ 882301 h 4087749"/>
                <a:gd name="connsiteX115" fmla="*/ 1187768 w 3639311"/>
                <a:gd name="connsiteY115" fmla="*/ 937927 h 4087749"/>
                <a:gd name="connsiteX116" fmla="*/ 1200150 w 3639311"/>
                <a:gd name="connsiteY116" fmla="*/ 1033748 h 4087749"/>
                <a:gd name="connsiteX117" fmla="*/ 1206627 w 3639311"/>
                <a:gd name="connsiteY117" fmla="*/ 1232916 h 4087749"/>
                <a:gd name="connsiteX118" fmla="*/ 1078611 w 3639311"/>
                <a:gd name="connsiteY118" fmla="*/ 1375791 h 4087749"/>
                <a:gd name="connsiteX119" fmla="*/ 1003554 w 3639311"/>
                <a:gd name="connsiteY119" fmla="*/ 1447324 h 4087749"/>
                <a:gd name="connsiteX120" fmla="*/ 1036225 w 3639311"/>
                <a:gd name="connsiteY120" fmla="*/ 1538668 h 4087749"/>
                <a:gd name="connsiteX121" fmla="*/ 1085279 w 3639311"/>
                <a:gd name="connsiteY121" fmla="*/ 1730693 h 4087749"/>
                <a:gd name="connsiteX122" fmla="*/ 992219 w 3639311"/>
                <a:gd name="connsiteY122" fmla="*/ 1897666 h 4087749"/>
                <a:gd name="connsiteX123" fmla="*/ 934784 w 3639311"/>
                <a:gd name="connsiteY123" fmla="*/ 1984248 h 4087749"/>
                <a:gd name="connsiteX124" fmla="*/ 990505 w 3639311"/>
                <a:gd name="connsiteY124" fmla="*/ 2077022 h 4087749"/>
                <a:gd name="connsiteX125" fmla="*/ 1078516 w 3639311"/>
                <a:gd name="connsiteY125" fmla="*/ 2249138 h 4087749"/>
                <a:gd name="connsiteX126" fmla="*/ 1025557 w 3639311"/>
                <a:gd name="connsiteY126" fmla="*/ 2441924 h 4087749"/>
                <a:gd name="connsiteX127" fmla="*/ 990600 w 3639311"/>
                <a:gd name="connsiteY127" fmla="*/ 2537651 h 4087749"/>
                <a:gd name="connsiteX128" fmla="*/ 1065371 w 3639311"/>
                <a:gd name="connsiteY128" fmla="*/ 2615565 h 4087749"/>
                <a:gd name="connsiteX129" fmla="*/ 1189768 w 3639311"/>
                <a:gd name="connsiteY129" fmla="*/ 2764917 h 4087749"/>
                <a:gd name="connsiteX130" fmla="*/ 1179005 w 3639311"/>
                <a:gd name="connsiteY130" fmla="*/ 2966085 h 4087749"/>
                <a:gd name="connsiteX131" fmla="*/ 1165003 w 3639311"/>
                <a:gd name="connsiteY131" fmla="*/ 3066479 h 4087749"/>
                <a:gd name="connsiteX132" fmla="*/ 1254633 w 3639311"/>
                <a:gd name="connsiteY132" fmla="*/ 3129058 h 4087749"/>
                <a:gd name="connsiteX133" fmla="*/ 1405604 w 3639311"/>
                <a:gd name="connsiteY133" fmla="*/ 3251264 h 4087749"/>
                <a:gd name="connsiteX134" fmla="*/ 1433036 w 3639311"/>
                <a:gd name="connsiteY134" fmla="*/ 3455099 h 4087749"/>
                <a:gd name="connsiteX135" fmla="*/ 1436846 w 3639311"/>
                <a:gd name="connsiteY135" fmla="*/ 3553397 h 4087749"/>
                <a:gd name="connsiteX136" fmla="*/ 1540574 w 3639311"/>
                <a:gd name="connsiteY136" fmla="*/ 3603117 h 4087749"/>
                <a:gd name="connsiteX137" fmla="*/ 1705832 w 3639311"/>
                <a:gd name="connsiteY137" fmla="*/ 3695510 h 4087749"/>
                <a:gd name="connsiteX138" fmla="*/ 1770983 w 3639311"/>
                <a:gd name="connsiteY138" fmla="*/ 3905250 h 4087749"/>
                <a:gd name="connsiteX139" fmla="*/ 1786033 w 3639311"/>
                <a:gd name="connsiteY139" fmla="*/ 3989641 h 4087749"/>
                <a:gd name="connsiteX140" fmla="*/ 1879378 w 3639311"/>
                <a:gd name="connsiteY140" fmla="*/ 4024979 h 4087749"/>
                <a:gd name="connsiteX141" fmla="*/ 2069783 w 3639311"/>
                <a:gd name="connsiteY141" fmla="*/ 4079939 h 4087749"/>
                <a:gd name="connsiteX142" fmla="*/ 2067592 w 3639311"/>
                <a:gd name="connsiteY142" fmla="*/ 4082606 h 4087749"/>
                <a:gd name="connsiteX143" fmla="*/ 2258759 w 3639311"/>
                <a:gd name="connsiteY143" fmla="*/ 4087749 h 4087749"/>
                <a:gd name="connsiteX144" fmla="*/ 1734122 w 3639311"/>
                <a:gd name="connsiteY144" fmla="*/ 3530251 h 4087749"/>
                <a:gd name="connsiteX145" fmla="*/ 3639312 w 3639311"/>
                <a:gd name="connsiteY145" fmla="*/ 2044446 h 4087749"/>
                <a:gd name="connsiteX146" fmla="*/ 3320796 w 3639311"/>
                <a:gd name="connsiteY146" fmla="*/ 3451574 h 4087749"/>
                <a:gd name="connsiteX147" fmla="*/ 2599182 w 3639311"/>
                <a:gd name="connsiteY147" fmla="*/ 4008215 h 4087749"/>
                <a:gd name="connsiteX148" fmla="*/ 1877568 w 3639311"/>
                <a:gd name="connsiteY148" fmla="*/ 3451574 h 4087749"/>
                <a:gd name="connsiteX149" fmla="*/ 1559052 w 3639311"/>
                <a:gd name="connsiteY149" fmla="*/ 2044446 h 4087749"/>
                <a:gd name="connsiteX150" fmla="*/ 1877568 w 3639311"/>
                <a:gd name="connsiteY150" fmla="*/ 637318 h 4087749"/>
                <a:gd name="connsiteX151" fmla="*/ 2599182 w 3639311"/>
                <a:gd name="connsiteY151" fmla="*/ 80772 h 4087749"/>
                <a:gd name="connsiteX152" fmla="*/ 3320796 w 3639311"/>
                <a:gd name="connsiteY152" fmla="*/ 637413 h 4087749"/>
                <a:gd name="connsiteX153" fmla="*/ 3639312 w 3639311"/>
                <a:gd name="connsiteY153" fmla="*/ 2044446 h 4087749"/>
                <a:gd name="connsiteX154" fmla="*/ 3163538 w 3639311"/>
                <a:gd name="connsiteY154" fmla="*/ 2044446 h 4087749"/>
                <a:gd name="connsiteX155" fmla="*/ 2599278 w 3639311"/>
                <a:gd name="connsiteY155" fmla="*/ 846868 h 4087749"/>
                <a:gd name="connsiteX156" fmla="*/ 2035016 w 3639311"/>
                <a:gd name="connsiteY156" fmla="*/ 2044446 h 4087749"/>
                <a:gd name="connsiteX157" fmla="*/ 2599278 w 3639311"/>
                <a:gd name="connsiteY157" fmla="*/ 3242024 h 4087749"/>
                <a:gd name="connsiteX158" fmla="*/ 3163538 w 3639311"/>
                <a:gd name="connsiteY158" fmla="*/ 2044446 h 408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3639311" h="4087749">
                  <a:moveTo>
                    <a:pt x="1210628" y="4040886"/>
                  </a:moveTo>
                  <a:cubicBezTo>
                    <a:pt x="562832" y="3990594"/>
                    <a:pt x="0" y="3134868"/>
                    <a:pt x="0" y="2040922"/>
                  </a:cubicBezTo>
                  <a:cubicBezTo>
                    <a:pt x="0" y="913162"/>
                    <a:pt x="545306" y="51721"/>
                    <a:pt x="1218057" y="51721"/>
                  </a:cubicBezTo>
                  <a:cubicBezTo>
                    <a:pt x="1222153" y="51721"/>
                    <a:pt x="1226630" y="51626"/>
                    <a:pt x="1231392" y="51626"/>
                  </a:cubicBezTo>
                  <a:cubicBezTo>
                    <a:pt x="1222534" y="86582"/>
                    <a:pt x="1211580" y="119825"/>
                    <a:pt x="1194721" y="136779"/>
                  </a:cubicBezTo>
                  <a:cubicBezTo>
                    <a:pt x="1182148" y="149447"/>
                    <a:pt x="1134809" y="160211"/>
                    <a:pt x="1100233" y="168116"/>
                  </a:cubicBezTo>
                  <a:cubicBezTo>
                    <a:pt x="1029462" y="184214"/>
                    <a:pt x="949262" y="202502"/>
                    <a:pt x="895350" y="265367"/>
                  </a:cubicBezTo>
                  <a:cubicBezTo>
                    <a:pt x="846392" y="322421"/>
                    <a:pt x="840772" y="399669"/>
                    <a:pt x="835819" y="467773"/>
                  </a:cubicBezTo>
                  <a:cubicBezTo>
                    <a:pt x="832676" y="511302"/>
                    <a:pt x="829056" y="560642"/>
                    <a:pt x="814102" y="581311"/>
                  </a:cubicBezTo>
                  <a:cubicBezTo>
                    <a:pt x="801815" y="598265"/>
                    <a:pt x="757142" y="616649"/>
                    <a:pt x="721233" y="631508"/>
                  </a:cubicBezTo>
                  <a:cubicBezTo>
                    <a:pt x="655130" y="658749"/>
                    <a:pt x="580263" y="689705"/>
                    <a:pt x="539306" y="759143"/>
                  </a:cubicBezTo>
                  <a:cubicBezTo>
                    <a:pt x="499777" y="826199"/>
                    <a:pt x="509016" y="904970"/>
                    <a:pt x="517112" y="974408"/>
                  </a:cubicBezTo>
                  <a:cubicBezTo>
                    <a:pt x="522065" y="1016603"/>
                    <a:pt x="527685" y="1064419"/>
                    <a:pt x="517684" y="1086422"/>
                  </a:cubicBezTo>
                  <a:cubicBezTo>
                    <a:pt x="508635" y="1106329"/>
                    <a:pt x="468725" y="1133951"/>
                    <a:pt x="436721" y="1156145"/>
                  </a:cubicBezTo>
                  <a:cubicBezTo>
                    <a:pt x="377571" y="1197102"/>
                    <a:pt x="310610" y="1243393"/>
                    <a:pt x="286226" y="1320737"/>
                  </a:cubicBezTo>
                  <a:cubicBezTo>
                    <a:pt x="262414" y="1396270"/>
                    <a:pt x="290608" y="1471517"/>
                    <a:pt x="315373" y="1537811"/>
                  </a:cubicBezTo>
                  <a:cubicBezTo>
                    <a:pt x="330137" y="1577245"/>
                    <a:pt x="346900" y="1622012"/>
                    <a:pt x="342710" y="1645825"/>
                  </a:cubicBezTo>
                  <a:cubicBezTo>
                    <a:pt x="338995" y="1667161"/>
                    <a:pt x="308134" y="1703832"/>
                    <a:pt x="283274" y="1733360"/>
                  </a:cubicBezTo>
                  <a:cubicBezTo>
                    <a:pt x="236411" y="1788986"/>
                    <a:pt x="183261" y="1852041"/>
                    <a:pt x="180880" y="1934432"/>
                  </a:cubicBezTo>
                  <a:cubicBezTo>
                    <a:pt x="178403" y="2019586"/>
                    <a:pt x="227743" y="2089499"/>
                    <a:pt x="271367" y="2151221"/>
                  </a:cubicBezTo>
                  <a:cubicBezTo>
                    <a:pt x="297942" y="2188940"/>
                    <a:pt x="325469" y="2227898"/>
                    <a:pt x="328898" y="2254568"/>
                  </a:cubicBezTo>
                  <a:cubicBezTo>
                    <a:pt x="332518" y="2283047"/>
                    <a:pt x="314992" y="2328672"/>
                    <a:pt x="298133" y="2372868"/>
                  </a:cubicBezTo>
                  <a:cubicBezTo>
                    <a:pt x="271748" y="2441829"/>
                    <a:pt x="241744" y="2520124"/>
                    <a:pt x="263366" y="2599658"/>
                  </a:cubicBezTo>
                  <a:cubicBezTo>
                    <a:pt x="285179" y="2679764"/>
                    <a:pt x="350615" y="2732628"/>
                    <a:pt x="408337" y="2779205"/>
                  </a:cubicBezTo>
                  <a:cubicBezTo>
                    <a:pt x="444818" y="2808637"/>
                    <a:pt x="482537" y="2839117"/>
                    <a:pt x="492728" y="2864263"/>
                  </a:cubicBezTo>
                  <a:cubicBezTo>
                    <a:pt x="503587" y="2891028"/>
                    <a:pt x="497396" y="2940272"/>
                    <a:pt x="491490" y="2987897"/>
                  </a:cubicBezTo>
                  <a:cubicBezTo>
                    <a:pt x="482441" y="3059811"/>
                    <a:pt x="472250" y="3141250"/>
                    <a:pt x="509969" y="3212306"/>
                  </a:cubicBezTo>
                  <a:cubicBezTo>
                    <a:pt x="548640" y="3285268"/>
                    <a:pt x="622935" y="3323368"/>
                    <a:pt x="688467" y="3356991"/>
                  </a:cubicBezTo>
                  <a:cubicBezTo>
                    <a:pt x="728091" y="3377279"/>
                    <a:pt x="772954" y="3400330"/>
                    <a:pt x="787146" y="3422237"/>
                  </a:cubicBezTo>
                  <a:cubicBezTo>
                    <a:pt x="803815" y="3447955"/>
                    <a:pt x="806482" y="3499104"/>
                    <a:pt x="809054" y="3548444"/>
                  </a:cubicBezTo>
                  <a:cubicBezTo>
                    <a:pt x="812673" y="3618929"/>
                    <a:pt x="816864" y="3698748"/>
                    <a:pt x="863632" y="3760184"/>
                  </a:cubicBezTo>
                  <a:cubicBezTo>
                    <a:pt x="915257" y="3827907"/>
                    <a:pt x="995839" y="3854577"/>
                    <a:pt x="1066800" y="3878104"/>
                  </a:cubicBezTo>
                  <a:cubicBezTo>
                    <a:pt x="1107472" y="3891534"/>
                    <a:pt x="1153573" y="3906870"/>
                    <a:pt x="1168527" y="3923919"/>
                  </a:cubicBezTo>
                  <a:cubicBezTo>
                    <a:pt x="1190435" y="3948970"/>
                    <a:pt x="1201293" y="3994309"/>
                    <a:pt x="1210628" y="4040886"/>
                  </a:cubicBezTo>
                  <a:close/>
                  <a:moveTo>
                    <a:pt x="1601438" y="3922681"/>
                  </a:moveTo>
                  <a:cubicBezTo>
                    <a:pt x="1596771" y="3877056"/>
                    <a:pt x="1591437" y="3825335"/>
                    <a:pt x="1572768" y="3801999"/>
                  </a:cubicBezTo>
                  <a:cubicBezTo>
                    <a:pt x="1563243" y="3789998"/>
                    <a:pt x="1517428" y="3774948"/>
                    <a:pt x="1487138" y="3764947"/>
                  </a:cubicBezTo>
                  <a:cubicBezTo>
                    <a:pt x="1422368" y="3743611"/>
                    <a:pt x="1341787" y="3716941"/>
                    <a:pt x="1295686" y="3648837"/>
                  </a:cubicBezTo>
                  <a:cubicBezTo>
                    <a:pt x="1254252" y="3587591"/>
                    <a:pt x="1258824" y="3511582"/>
                    <a:pt x="1262920" y="3444621"/>
                  </a:cubicBezTo>
                  <a:cubicBezTo>
                    <a:pt x="1265301" y="3404616"/>
                    <a:pt x="1268349" y="3354800"/>
                    <a:pt x="1256919" y="3334417"/>
                  </a:cubicBezTo>
                  <a:cubicBezTo>
                    <a:pt x="1248061" y="3318605"/>
                    <a:pt x="1205579" y="3295936"/>
                    <a:pt x="1174528" y="3279458"/>
                  </a:cubicBezTo>
                  <a:cubicBezTo>
                    <a:pt x="1112330" y="3246311"/>
                    <a:pt x="1041749" y="3208687"/>
                    <a:pt x="1009269" y="3135725"/>
                  </a:cubicBezTo>
                  <a:cubicBezTo>
                    <a:pt x="978313" y="3066288"/>
                    <a:pt x="997077" y="2991041"/>
                    <a:pt x="1013651" y="2924747"/>
                  </a:cubicBezTo>
                  <a:cubicBezTo>
                    <a:pt x="1023176" y="2886742"/>
                    <a:pt x="1034891" y="2839403"/>
                    <a:pt x="1027938" y="2818353"/>
                  </a:cubicBezTo>
                  <a:cubicBezTo>
                    <a:pt x="1022033" y="2800445"/>
                    <a:pt x="984504" y="2769680"/>
                    <a:pt x="957167" y="2747201"/>
                  </a:cubicBezTo>
                  <a:cubicBezTo>
                    <a:pt x="902684" y="2702433"/>
                    <a:pt x="840867" y="2651665"/>
                    <a:pt x="824008" y="2573655"/>
                  </a:cubicBezTo>
                  <a:cubicBezTo>
                    <a:pt x="807720" y="2498503"/>
                    <a:pt x="842201" y="2428494"/>
                    <a:pt x="872585" y="2366582"/>
                  </a:cubicBezTo>
                  <a:cubicBezTo>
                    <a:pt x="889730" y="2331625"/>
                    <a:pt x="911162" y="2288191"/>
                    <a:pt x="908971" y="2266283"/>
                  </a:cubicBezTo>
                  <a:cubicBezTo>
                    <a:pt x="907066" y="2247424"/>
                    <a:pt x="877443" y="2209324"/>
                    <a:pt x="855917" y="2181511"/>
                  </a:cubicBezTo>
                  <a:cubicBezTo>
                    <a:pt x="812483" y="2125504"/>
                    <a:pt x="763238" y="2062067"/>
                    <a:pt x="764477" y="1981772"/>
                  </a:cubicBezTo>
                  <a:cubicBezTo>
                    <a:pt x="765620" y="1902143"/>
                    <a:pt x="816769" y="1841373"/>
                    <a:pt x="862013" y="1787747"/>
                  </a:cubicBezTo>
                  <a:cubicBezTo>
                    <a:pt x="882777" y="1763078"/>
                    <a:pt x="914114" y="1725835"/>
                    <a:pt x="916305" y="1708976"/>
                  </a:cubicBezTo>
                  <a:cubicBezTo>
                    <a:pt x="918877" y="1688783"/>
                    <a:pt x="898684" y="1646111"/>
                    <a:pt x="882396" y="1611821"/>
                  </a:cubicBezTo>
                  <a:cubicBezTo>
                    <a:pt x="853154" y="1550384"/>
                    <a:pt x="820103" y="1480661"/>
                    <a:pt x="838105" y="1406843"/>
                  </a:cubicBezTo>
                  <a:cubicBezTo>
                    <a:pt x="856964" y="1329881"/>
                    <a:pt x="920115" y="1282065"/>
                    <a:pt x="975836" y="1239869"/>
                  </a:cubicBezTo>
                  <a:cubicBezTo>
                    <a:pt x="1001649" y="1220343"/>
                    <a:pt x="1040606" y="1190911"/>
                    <a:pt x="1046417" y="1174814"/>
                  </a:cubicBezTo>
                  <a:cubicBezTo>
                    <a:pt x="1053370" y="1155573"/>
                    <a:pt x="1042702" y="1109377"/>
                    <a:pt x="1034129" y="1072229"/>
                  </a:cubicBezTo>
                  <a:cubicBezTo>
                    <a:pt x="1018889" y="1006316"/>
                    <a:pt x="1001554" y="931640"/>
                    <a:pt x="1034320" y="863822"/>
                  </a:cubicBezTo>
                  <a:cubicBezTo>
                    <a:pt x="1068800" y="792385"/>
                    <a:pt x="1140428" y="758381"/>
                    <a:pt x="1203579" y="728377"/>
                  </a:cubicBezTo>
                  <a:cubicBezTo>
                    <a:pt x="1232630" y="714565"/>
                    <a:pt x="1276445" y="693801"/>
                    <a:pt x="1284923" y="679799"/>
                  </a:cubicBezTo>
                  <a:cubicBezTo>
                    <a:pt x="1296162" y="661321"/>
                    <a:pt x="1294448" y="612838"/>
                    <a:pt x="1293019" y="573977"/>
                  </a:cubicBezTo>
                  <a:cubicBezTo>
                    <a:pt x="1290638" y="507492"/>
                    <a:pt x="1287875" y="432149"/>
                    <a:pt x="1331405" y="372999"/>
                  </a:cubicBezTo>
                  <a:cubicBezTo>
                    <a:pt x="1379792" y="307276"/>
                    <a:pt x="1461040" y="285274"/>
                    <a:pt x="1526286" y="267653"/>
                  </a:cubicBezTo>
                  <a:cubicBezTo>
                    <a:pt x="1554004" y="260128"/>
                    <a:pt x="1600486" y="247650"/>
                    <a:pt x="1610201" y="237173"/>
                  </a:cubicBezTo>
                  <a:cubicBezTo>
                    <a:pt x="1628585" y="216218"/>
                    <a:pt x="1635443" y="166211"/>
                    <a:pt x="1641443" y="122015"/>
                  </a:cubicBezTo>
                  <a:cubicBezTo>
                    <a:pt x="1645825" y="89916"/>
                    <a:pt x="1650302" y="57341"/>
                    <a:pt x="1659541" y="26861"/>
                  </a:cubicBezTo>
                  <a:cubicBezTo>
                    <a:pt x="1565434" y="32576"/>
                    <a:pt x="1480185" y="38195"/>
                    <a:pt x="1408843" y="42672"/>
                  </a:cubicBezTo>
                  <a:cubicBezTo>
                    <a:pt x="1407986" y="46196"/>
                    <a:pt x="1407224" y="49625"/>
                    <a:pt x="1406557" y="52769"/>
                  </a:cubicBezTo>
                  <a:cubicBezTo>
                    <a:pt x="1391603" y="118205"/>
                    <a:pt x="1373124" y="199549"/>
                    <a:pt x="1315593" y="257175"/>
                  </a:cubicBezTo>
                  <a:cubicBezTo>
                    <a:pt x="1268254" y="304705"/>
                    <a:pt x="1202150" y="319754"/>
                    <a:pt x="1138333" y="334328"/>
                  </a:cubicBezTo>
                  <a:cubicBezTo>
                    <a:pt x="1093280" y="344615"/>
                    <a:pt x="1042226" y="356235"/>
                    <a:pt x="1024890" y="376428"/>
                  </a:cubicBezTo>
                  <a:cubicBezTo>
                    <a:pt x="1012508" y="390811"/>
                    <a:pt x="1008793" y="442436"/>
                    <a:pt x="1006031" y="480155"/>
                  </a:cubicBezTo>
                  <a:cubicBezTo>
                    <a:pt x="1001268" y="546354"/>
                    <a:pt x="995744" y="621411"/>
                    <a:pt x="952405" y="681419"/>
                  </a:cubicBezTo>
                  <a:cubicBezTo>
                    <a:pt x="911828" y="737521"/>
                    <a:pt x="845249" y="764953"/>
                    <a:pt x="786479" y="789242"/>
                  </a:cubicBezTo>
                  <a:cubicBezTo>
                    <a:pt x="747236" y="805434"/>
                    <a:pt x="698278" y="825627"/>
                    <a:pt x="686372" y="845915"/>
                  </a:cubicBezTo>
                  <a:cubicBezTo>
                    <a:pt x="675989" y="863537"/>
                    <a:pt x="682181" y="916210"/>
                    <a:pt x="686657" y="954691"/>
                  </a:cubicBezTo>
                  <a:cubicBezTo>
                    <a:pt x="694182" y="1018985"/>
                    <a:pt x="702659" y="1091851"/>
                    <a:pt x="673132" y="1157002"/>
                  </a:cubicBezTo>
                  <a:cubicBezTo>
                    <a:pt x="644652" y="1219772"/>
                    <a:pt x="585788" y="1260539"/>
                    <a:pt x="533876" y="1296448"/>
                  </a:cubicBezTo>
                  <a:cubicBezTo>
                    <a:pt x="499110" y="1320546"/>
                    <a:pt x="455771" y="1350455"/>
                    <a:pt x="449009" y="1372076"/>
                  </a:cubicBezTo>
                  <a:cubicBezTo>
                    <a:pt x="442817" y="1391603"/>
                    <a:pt x="461582" y="1441609"/>
                    <a:pt x="475298" y="1478185"/>
                  </a:cubicBezTo>
                  <a:cubicBezTo>
                    <a:pt x="497681" y="1537907"/>
                    <a:pt x="523018" y="1605725"/>
                    <a:pt x="510921" y="1675067"/>
                  </a:cubicBezTo>
                  <a:cubicBezTo>
                    <a:pt x="499396" y="1741837"/>
                    <a:pt x="453962" y="1795748"/>
                    <a:pt x="413861" y="1843278"/>
                  </a:cubicBezTo>
                  <a:cubicBezTo>
                    <a:pt x="386334" y="1875854"/>
                    <a:pt x="352139" y="1916525"/>
                    <a:pt x="351473" y="1939481"/>
                  </a:cubicBezTo>
                  <a:cubicBezTo>
                    <a:pt x="350615" y="1967675"/>
                    <a:pt x="382619" y="2013014"/>
                    <a:pt x="410813" y="2052923"/>
                  </a:cubicBezTo>
                  <a:cubicBezTo>
                    <a:pt x="447675" y="2105120"/>
                    <a:pt x="489395" y="2164271"/>
                    <a:pt x="498158" y="2233136"/>
                  </a:cubicBezTo>
                  <a:cubicBezTo>
                    <a:pt x="507206" y="2304098"/>
                    <a:pt x="480727" y="2373059"/>
                    <a:pt x="457486" y="2433923"/>
                  </a:cubicBezTo>
                  <a:cubicBezTo>
                    <a:pt x="440436" y="2478500"/>
                    <a:pt x="421005" y="2529078"/>
                    <a:pt x="428054" y="2554891"/>
                  </a:cubicBezTo>
                  <a:cubicBezTo>
                    <a:pt x="435388" y="2581847"/>
                    <a:pt x="477965" y="2616232"/>
                    <a:pt x="515588" y="2646521"/>
                  </a:cubicBezTo>
                  <a:cubicBezTo>
                    <a:pt x="566452" y="2687574"/>
                    <a:pt x="623983" y="2734056"/>
                    <a:pt x="650843" y="2800064"/>
                  </a:cubicBezTo>
                  <a:cubicBezTo>
                    <a:pt x="678466" y="2868073"/>
                    <a:pt x="669036" y="2942939"/>
                    <a:pt x="660749" y="3009043"/>
                  </a:cubicBezTo>
                  <a:cubicBezTo>
                    <a:pt x="654844" y="3055906"/>
                    <a:pt x="648272" y="3108960"/>
                    <a:pt x="660654" y="3132296"/>
                  </a:cubicBezTo>
                  <a:cubicBezTo>
                    <a:pt x="674275" y="3157919"/>
                    <a:pt x="723233" y="3183065"/>
                    <a:pt x="766382" y="3205163"/>
                  </a:cubicBezTo>
                  <a:cubicBezTo>
                    <a:pt x="824960" y="3235262"/>
                    <a:pt x="891350" y="3269266"/>
                    <a:pt x="930307" y="3329273"/>
                  </a:cubicBezTo>
                  <a:cubicBezTo>
                    <a:pt x="971836" y="3393281"/>
                    <a:pt x="975836" y="3471005"/>
                    <a:pt x="979456" y="3539490"/>
                  </a:cubicBezTo>
                  <a:cubicBezTo>
                    <a:pt x="981837" y="3585305"/>
                    <a:pt x="984504" y="3637121"/>
                    <a:pt x="999363" y="3656648"/>
                  </a:cubicBezTo>
                  <a:cubicBezTo>
                    <a:pt x="1019080" y="3682460"/>
                    <a:pt x="1070705" y="3699605"/>
                    <a:pt x="1120616" y="3716084"/>
                  </a:cubicBezTo>
                  <a:cubicBezTo>
                    <a:pt x="1184910" y="3737420"/>
                    <a:pt x="1251395" y="3759422"/>
                    <a:pt x="1296924" y="3811334"/>
                  </a:cubicBezTo>
                  <a:cubicBezTo>
                    <a:pt x="1352455" y="3874675"/>
                    <a:pt x="1368171" y="3955923"/>
                    <a:pt x="1382173" y="4027646"/>
                  </a:cubicBezTo>
                  <a:cubicBezTo>
                    <a:pt x="1383316" y="4033742"/>
                    <a:pt x="1384649" y="4040505"/>
                    <a:pt x="1386078" y="4047363"/>
                  </a:cubicBezTo>
                  <a:cubicBezTo>
                    <a:pt x="1451991" y="4050792"/>
                    <a:pt x="1535716" y="4055936"/>
                    <a:pt x="1631918" y="4061555"/>
                  </a:cubicBezTo>
                  <a:cubicBezTo>
                    <a:pt x="1611439" y="4019455"/>
                    <a:pt x="1606296" y="3970496"/>
                    <a:pt x="1601438" y="3922681"/>
                  </a:cubicBezTo>
                  <a:close/>
                  <a:moveTo>
                    <a:pt x="1734122" y="3530251"/>
                  </a:moveTo>
                  <a:cubicBezTo>
                    <a:pt x="1515713" y="3132011"/>
                    <a:pt x="1395413" y="2604421"/>
                    <a:pt x="1395413" y="2044446"/>
                  </a:cubicBezTo>
                  <a:cubicBezTo>
                    <a:pt x="1395413" y="1484471"/>
                    <a:pt x="1515713" y="956882"/>
                    <a:pt x="1734122" y="558641"/>
                  </a:cubicBezTo>
                  <a:cubicBezTo>
                    <a:pt x="1881283" y="290513"/>
                    <a:pt x="2062067" y="100584"/>
                    <a:pt x="2261235" y="0"/>
                  </a:cubicBezTo>
                  <a:cubicBezTo>
                    <a:pt x="2205419" y="1143"/>
                    <a:pt x="2149602" y="2858"/>
                    <a:pt x="2094167" y="4858"/>
                  </a:cubicBezTo>
                  <a:cubicBezTo>
                    <a:pt x="2022062" y="51054"/>
                    <a:pt x="1959293" y="42958"/>
                    <a:pt x="1916906" y="37433"/>
                  </a:cubicBezTo>
                  <a:cubicBezTo>
                    <a:pt x="1876711" y="32195"/>
                    <a:pt x="1862900" y="30385"/>
                    <a:pt x="1826990" y="64770"/>
                  </a:cubicBezTo>
                  <a:cubicBezTo>
                    <a:pt x="1819561" y="76486"/>
                    <a:pt x="1813941" y="117729"/>
                    <a:pt x="1810131" y="145066"/>
                  </a:cubicBezTo>
                  <a:cubicBezTo>
                    <a:pt x="1801273" y="209645"/>
                    <a:pt x="1790319" y="289941"/>
                    <a:pt x="1738217" y="349377"/>
                  </a:cubicBezTo>
                  <a:cubicBezTo>
                    <a:pt x="1695260" y="398526"/>
                    <a:pt x="1628966" y="416338"/>
                    <a:pt x="1570577" y="432149"/>
                  </a:cubicBezTo>
                  <a:cubicBezTo>
                    <a:pt x="1533049" y="442246"/>
                    <a:pt x="1481614" y="456152"/>
                    <a:pt x="1468564" y="473964"/>
                  </a:cubicBezTo>
                  <a:cubicBezTo>
                    <a:pt x="1460278" y="486061"/>
                    <a:pt x="1462088" y="537115"/>
                    <a:pt x="1463231" y="567690"/>
                  </a:cubicBezTo>
                  <a:cubicBezTo>
                    <a:pt x="1465612" y="632555"/>
                    <a:pt x="1468279" y="705993"/>
                    <a:pt x="1430560" y="768191"/>
                  </a:cubicBezTo>
                  <a:cubicBezTo>
                    <a:pt x="1395603" y="825818"/>
                    <a:pt x="1332357" y="855821"/>
                    <a:pt x="1276636" y="882301"/>
                  </a:cubicBezTo>
                  <a:cubicBezTo>
                    <a:pt x="1242632" y="898398"/>
                    <a:pt x="1196150" y="920591"/>
                    <a:pt x="1187768" y="937927"/>
                  </a:cubicBezTo>
                  <a:cubicBezTo>
                    <a:pt x="1181100" y="951643"/>
                    <a:pt x="1193006" y="1003078"/>
                    <a:pt x="1200150" y="1033748"/>
                  </a:cubicBezTo>
                  <a:cubicBezTo>
                    <a:pt x="1214533" y="1095851"/>
                    <a:pt x="1230821" y="1166241"/>
                    <a:pt x="1206627" y="1232916"/>
                  </a:cubicBezTo>
                  <a:cubicBezTo>
                    <a:pt x="1183577" y="1296353"/>
                    <a:pt x="1127855" y="1338548"/>
                    <a:pt x="1078611" y="1375791"/>
                  </a:cubicBezTo>
                  <a:cubicBezTo>
                    <a:pt x="1050512" y="1397032"/>
                    <a:pt x="1008031" y="1429226"/>
                    <a:pt x="1003554" y="1447324"/>
                  </a:cubicBezTo>
                  <a:cubicBezTo>
                    <a:pt x="999935" y="1462278"/>
                    <a:pt x="1022604" y="1510093"/>
                    <a:pt x="1036225" y="1538668"/>
                  </a:cubicBezTo>
                  <a:cubicBezTo>
                    <a:pt x="1063466" y="1595914"/>
                    <a:pt x="1094232" y="1660779"/>
                    <a:pt x="1085279" y="1730693"/>
                  </a:cubicBezTo>
                  <a:cubicBezTo>
                    <a:pt x="1076706" y="1797368"/>
                    <a:pt x="1031843" y="1850612"/>
                    <a:pt x="992219" y="1897666"/>
                  </a:cubicBezTo>
                  <a:cubicBezTo>
                    <a:pt x="969455" y="1924717"/>
                    <a:pt x="935069" y="1965484"/>
                    <a:pt x="934784" y="1984248"/>
                  </a:cubicBezTo>
                  <a:cubicBezTo>
                    <a:pt x="934498" y="2004822"/>
                    <a:pt x="966883" y="2046542"/>
                    <a:pt x="990505" y="2077022"/>
                  </a:cubicBezTo>
                  <a:cubicBezTo>
                    <a:pt x="1028510" y="2126075"/>
                    <a:pt x="1071658" y="2181701"/>
                    <a:pt x="1078516" y="2249138"/>
                  </a:cubicBezTo>
                  <a:cubicBezTo>
                    <a:pt x="1085660" y="2319623"/>
                    <a:pt x="1053751" y="2384584"/>
                    <a:pt x="1025557" y="2441924"/>
                  </a:cubicBezTo>
                  <a:cubicBezTo>
                    <a:pt x="1010126" y="2473262"/>
                    <a:pt x="986885" y="2520601"/>
                    <a:pt x="990600" y="2537651"/>
                  </a:cubicBezTo>
                  <a:cubicBezTo>
                    <a:pt x="994982" y="2557653"/>
                    <a:pt x="1035653" y="2591086"/>
                    <a:pt x="1065371" y="2615565"/>
                  </a:cubicBezTo>
                  <a:cubicBezTo>
                    <a:pt x="1113568" y="2655189"/>
                    <a:pt x="1168241" y="2700147"/>
                    <a:pt x="1189768" y="2764917"/>
                  </a:cubicBezTo>
                  <a:cubicBezTo>
                    <a:pt x="1212247" y="2832830"/>
                    <a:pt x="1194626" y="2903601"/>
                    <a:pt x="1179005" y="2966085"/>
                  </a:cubicBezTo>
                  <a:cubicBezTo>
                    <a:pt x="1170623" y="2999804"/>
                    <a:pt x="1157954" y="3050667"/>
                    <a:pt x="1165003" y="3066479"/>
                  </a:cubicBezTo>
                  <a:cubicBezTo>
                    <a:pt x="1173671" y="3085910"/>
                    <a:pt x="1220438" y="3110865"/>
                    <a:pt x="1254633" y="3129058"/>
                  </a:cubicBezTo>
                  <a:cubicBezTo>
                    <a:pt x="1309783" y="3158490"/>
                    <a:pt x="1372267" y="3191732"/>
                    <a:pt x="1405604" y="3251264"/>
                  </a:cubicBezTo>
                  <a:cubicBezTo>
                    <a:pt x="1441514" y="3315367"/>
                    <a:pt x="1436942" y="3389566"/>
                    <a:pt x="1433036" y="3455099"/>
                  </a:cubicBezTo>
                  <a:cubicBezTo>
                    <a:pt x="1431131" y="3486912"/>
                    <a:pt x="1427893" y="3540157"/>
                    <a:pt x="1436846" y="3553397"/>
                  </a:cubicBezTo>
                  <a:cubicBezTo>
                    <a:pt x="1450372" y="3573399"/>
                    <a:pt x="1500378" y="3589878"/>
                    <a:pt x="1540574" y="3603117"/>
                  </a:cubicBezTo>
                  <a:cubicBezTo>
                    <a:pt x="1601629" y="3623215"/>
                    <a:pt x="1664684" y="3644074"/>
                    <a:pt x="1705832" y="3695510"/>
                  </a:cubicBezTo>
                  <a:cubicBezTo>
                    <a:pt x="1755839" y="3757994"/>
                    <a:pt x="1764316" y="3839718"/>
                    <a:pt x="1770983" y="3905250"/>
                  </a:cubicBezTo>
                  <a:cubicBezTo>
                    <a:pt x="1773936" y="3934206"/>
                    <a:pt x="1778413" y="3977735"/>
                    <a:pt x="1786033" y="3989641"/>
                  </a:cubicBezTo>
                  <a:cubicBezTo>
                    <a:pt x="1822799" y="4028504"/>
                    <a:pt x="1838325" y="4027551"/>
                    <a:pt x="1879378" y="4024979"/>
                  </a:cubicBezTo>
                  <a:cubicBezTo>
                    <a:pt x="1925098" y="4022122"/>
                    <a:pt x="1994154" y="4017740"/>
                    <a:pt x="2069783" y="4079939"/>
                  </a:cubicBezTo>
                  <a:lnTo>
                    <a:pt x="2067592" y="4082606"/>
                  </a:lnTo>
                  <a:cubicBezTo>
                    <a:pt x="2130076" y="4084796"/>
                    <a:pt x="2193989" y="4086606"/>
                    <a:pt x="2258759" y="4087749"/>
                  </a:cubicBezTo>
                  <a:cubicBezTo>
                    <a:pt x="2060639" y="3986879"/>
                    <a:pt x="1880711" y="3797427"/>
                    <a:pt x="1734122" y="3530251"/>
                  </a:cubicBezTo>
                  <a:close/>
                  <a:moveTo>
                    <a:pt x="3639312" y="2044446"/>
                  </a:moveTo>
                  <a:cubicBezTo>
                    <a:pt x="3639312" y="2577274"/>
                    <a:pt x="3526155" y="3077051"/>
                    <a:pt x="3320796" y="3451574"/>
                  </a:cubicBezTo>
                  <a:cubicBezTo>
                    <a:pt x="3123914" y="3810572"/>
                    <a:pt x="2867692" y="4008215"/>
                    <a:pt x="2599182" y="4008215"/>
                  </a:cubicBezTo>
                  <a:cubicBezTo>
                    <a:pt x="2330672" y="4008215"/>
                    <a:pt x="2074450" y="3810572"/>
                    <a:pt x="1877568" y="3451574"/>
                  </a:cubicBezTo>
                  <a:cubicBezTo>
                    <a:pt x="1672209" y="3077051"/>
                    <a:pt x="1559052" y="2577370"/>
                    <a:pt x="1559052" y="2044446"/>
                  </a:cubicBezTo>
                  <a:cubicBezTo>
                    <a:pt x="1559052" y="1511618"/>
                    <a:pt x="1672209" y="1011841"/>
                    <a:pt x="1877568" y="637318"/>
                  </a:cubicBezTo>
                  <a:cubicBezTo>
                    <a:pt x="2074545" y="278416"/>
                    <a:pt x="2330768" y="80772"/>
                    <a:pt x="2599182" y="80772"/>
                  </a:cubicBezTo>
                  <a:cubicBezTo>
                    <a:pt x="2867597" y="80772"/>
                    <a:pt x="3123914" y="278416"/>
                    <a:pt x="3320796" y="637413"/>
                  </a:cubicBezTo>
                  <a:cubicBezTo>
                    <a:pt x="3526155" y="1011936"/>
                    <a:pt x="3639312" y="1511618"/>
                    <a:pt x="3639312" y="2044446"/>
                  </a:cubicBezTo>
                  <a:close/>
                  <a:moveTo>
                    <a:pt x="3163538" y="2044446"/>
                  </a:moveTo>
                  <a:cubicBezTo>
                    <a:pt x="3163538" y="1383030"/>
                    <a:pt x="2910935" y="846868"/>
                    <a:pt x="2599278" y="846868"/>
                  </a:cubicBezTo>
                  <a:cubicBezTo>
                    <a:pt x="2287619" y="846868"/>
                    <a:pt x="2035016" y="1383030"/>
                    <a:pt x="2035016" y="2044446"/>
                  </a:cubicBezTo>
                  <a:cubicBezTo>
                    <a:pt x="2035016" y="2705862"/>
                    <a:pt x="2287619" y="3242024"/>
                    <a:pt x="2599278" y="3242024"/>
                  </a:cubicBezTo>
                  <a:cubicBezTo>
                    <a:pt x="2910840" y="3242024"/>
                    <a:pt x="3163538" y="2705862"/>
                    <a:pt x="3163538" y="2044446"/>
                  </a:cubicBezTo>
                  <a:close/>
                </a:path>
              </a:pathLst>
            </a:custGeom>
            <a:solidFill>
              <a:schemeClr val="accent2"/>
            </a:solidFill>
            <a:ln w="9525"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141" name="Textfeld 140"/>
          <p:cNvSpPr txBox="1"/>
          <p:nvPr/>
        </p:nvSpPr>
        <p:spPr bwMode="gray">
          <a:xfrm flipH="1">
            <a:off x="427417" y="4687879"/>
            <a:ext cx="1208547" cy="478074"/>
          </a:xfrm>
          <a:prstGeom prst="rect">
            <a:avLst/>
          </a:prstGeom>
          <a:noFill/>
        </p:spPr>
        <p:txBody>
          <a:bodyPr wrap="square" lIns="107944" tIns="53972" rIns="107944" bIns="53972"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tab pos="0" algn="l"/>
              </a:tabLst>
              <a:defRPr/>
            </a:pPr>
            <a:r>
              <a:rPr kumimoji="0" lang="en-US" sz="1199" b="1" i="0" u="none" strike="noStrike" kern="1200" cap="none" spc="0" normalizeH="0" baseline="0" noProof="0">
                <a:ln>
                  <a:noFill/>
                </a:ln>
                <a:solidFill>
                  <a:srgbClr val="00BEDC"/>
                </a:solidFill>
                <a:effectLst/>
                <a:uLnTx/>
                <a:uFillTx/>
                <a:latin typeface="Arial"/>
                <a:ea typeface="+mn-ea"/>
                <a:cs typeface="+mn-cs"/>
              </a:rPr>
              <a:t>Predictive maintenance</a:t>
            </a:r>
          </a:p>
        </p:txBody>
      </p:sp>
      <p:grpSp>
        <p:nvGrpSpPr>
          <p:cNvPr id="29" name="Gruppieren 28">
            <a:extLst>
              <a:ext uri="{FF2B5EF4-FFF2-40B4-BE49-F238E27FC236}">
                <a16:creationId xmlns:a16="http://schemas.microsoft.com/office/drawing/2014/main" id="{005775A6-48AD-9149-BF33-6202C36E2926}"/>
              </a:ext>
            </a:extLst>
          </p:cNvPr>
          <p:cNvGrpSpPr/>
          <p:nvPr/>
        </p:nvGrpSpPr>
        <p:grpSpPr>
          <a:xfrm>
            <a:off x="1473416" y="4149621"/>
            <a:ext cx="3827390" cy="932704"/>
            <a:chOff x="1473416" y="4149621"/>
            <a:chExt cx="3827390" cy="932704"/>
          </a:xfrm>
        </p:grpSpPr>
        <p:sp>
          <p:nvSpPr>
            <p:cNvPr id="99" name="Freeform 98">
              <a:extLst>
                <a:ext uri="{FF2B5EF4-FFF2-40B4-BE49-F238E27FC236}">
                  <a16:creationId xmlns:a16="http://schemas.microsoft.com/office/drawing/2014/main" id="{9E5FF257-D650-C642-9BF9-E91B70D9FA1D}"/>
                </a:ext>
              </a:extLst>
            </p:cNvPr>
            <p:cNvSpPr/>
            <p:nvPr/>
          </p:nvSpPr>
          <p:spPr bwMode="auto">
            <a:xfrm>
              <a:off x="2144299" y="4149621"/>
              <a:ext cx="3156507" cy="594596"/>
            </a:xfrm>
            <a:custGeom>
              <a:avLst/>
              <a:gdLst>
                <a:gd name="connsiteX0" fmla="*/ 3012440 w 3012440"/>
                <a:gd name="connsiteY0" fmla="*/ 0 h 416560"/>
                <a:gd name="connsiteX1" fmla="*/ 1203960 w 3012440"/>
                <a:gd name="connsiteY1" fmla="*/ 0 h 416560"/>
                <a:gd name="connsiteX2" fmla="*/ 787400 w 3012440"/>
                <a:gd name="connsiteY2" fmla="*/ 416560 h 416560"/>
                <a:gd name="connsiteX3" fmla="*/ 731520 w 3012440"/>
                <a:gd name="connsiteY3" fmla="*/ 416560 h 416560"/>
                <a:gd name="connsiteX4" fmla="*/ 0 w 3012440"/>
                <a:gd name="connsiteY4" fmla="*/ 416560 h 416560"/>
                <a:gd name="connsiteX0" fmla="*/ 3012440 w 3012440"/>
                <a:gd name="connsiteY0" fmla="*/ 71240 h 487800"/>
                <a:gd name="connsiteX1" fmla="*/ 1289608 w 3012440"/>
                <a:gd name="connsiteY1" fmla="*/ 0 h 487800"/>
                <a:gd name="connsiteX2" fmla="*/ 787400 w 3012440"/>
                <a:gd name="connsiteY2" fmla="*/ 487800 h 487800"/>
                <a:gd name="connsiteX3" fmla="*/ 731520 w 3012440"/>
                <a:gd name="connsiteY3" fmla="*/ 487800 h 487800"/>
                <a:gd name="connsiteX4" fmla="*/ 0 w 3012440"/>
                <a:gd name="connsiteY4" fmla="*/ 487800 h 487800"/>
                <a:gd name="connsiteX0" fmla="*/ 3012440 w 3012440"/>
                <a:gd name="connsiteY0" fmla="*/ 48342 h 464902"/>
                <a:gd name="connsiteX1" fmla="*/ 1350784 w 3012440"/>
                <a:gd name="connsiteY1" fmla="*/ 0 h 464902"/>
                <a:gd name="connsiteX2" fmla="*/ 787400 w 3012440"/>
                <a:gd name="connsiteY2" fmla="*/ 464902 h 464902"/>
                <a:gd name="connsiteX3" fmla="*/ 731520 w 3012440"/>
                <a:gd name="connsiteY3" fmla="*/ 464902 h 464902"/>
                <a:gd name="connsiteX4" fmla="*/ 0 w 3012440"/>
                <a:gd name="connsiteY4" fmla="*/ 464902 h 464902"/>
                <a:gd name="connsiteX0" fmla="*/ 2865617 w 2865617"/>
                <a:gd name="connsiteY0" fmla="*/ 10178 h 464902"/>
                <a:gd name="connsiteX1" fmla="*/ 1350784 w 2865617"/>
                <a:gd name="connsiteY1" fmla="*/ 0 h 464902"/>
                <a:gd name="connsiteX2" fmla="*/ 787400 w 2865617"/>
                <a:gd name="connsiteY2" fmla="*/ 464902 h 464902"/>
                <a:gd name="connsiteX3" fmla="*/ 731520 w 2865617"/>
                <a:gd name="connsiteY3" fmla="*/ 464902 h 464902"/>
                <a:gd name="connsiteX4" fmla="*/ 0 w 2865617"/>
                <a:gd name="connsiteY4" fmla="*/ 464902 h 464902"/>
                <a:gd name="connsiteX0" fmla="*/ 2776911 w 2776911"/>
                <a:gd name="connsiteY0" fmla="*/ 10178 h 464902"/>
                <a:gd name="connsiteX1" fmla="*/ 1350784 w 2776911"/>
                <a:gd name="connsiteY1" fmla="*/ 0 h 464902"/>
                <a:gd name="connsiteX2" fmla="*/ 787400 w 2776911"/>
                <a:gd name="connsiteY2" fmla="*/ 464902 h 464902"/>
                <a:gd name="connsiteX3" fmla="*/ 731520 w 2776911"/>
                <a:gd name="connsiteY3" fmla="*/ 464902 h 464902"/>
                <a:gd name="connsiteX4" fmla="*/ 0 w 2776911"/>
                <a:gd name="connsiteY4" fmla="*/ 464902 h 464902"/>
                <a:gd name="connsiteX0" fmla="*/ 2743264 w 2743264"/>
                <a:gd name="connsiteY0" fmla="*/ 7633 h 464902"/>
                <a:gd name="connsiteX1" fmla="*/ 1350784 w 2743264"/>
                <a:gd name="connsiteY1" fmla="*/ 0 h 464902"/>
                <a:gd name="connsiteX2" fmla="*/ 787400 w 2743264"/>
                <a:gd name="connsiteY2" fmla="*/ 464902 h 464902"/>
                <a:gd name="connsiteX3" fmla="*/ 731520 w 2743264"/>
                <a:gd name="connsiteY3" fmla="*/ 464902 h 464902"/>
                <a:gd name="connsiteX4" fmla="*/ 0 w 2743264"/>
                <a:gd name="connsiteY4" fmla="*/ 464902 h 464902"/>
                <a:gd name="connsiteX0" fmla="*/ 2967100 w 2967100"/>
                <a:gd name="connsiteY0" fmla="*/ 7633 h 464902"/>
                <a:gd name="connsiteX1" fmla="*/ 1574620 w 2967100"/>
                <a:gd name="connsiteY1" fmla="*/ 0 h 464902"/>
                <a:gd name="connsiteX2" fmla="*/ 1011236 w 2967100"/>
                <a:gd name="connsiteY2" fmla="*/ 464902 h 464902"/>
                <a:gd name="connsiteX3" fmla="*/ 955356 w 2967100"/>
                <a:gd name="connsiteY3" fmla="*/ 464902 h 464902"/>
                <a:gd name="connsiteX4" fmla="*/ 0 w 2967100"/>
                <a:gd name="connsiteY4" fmla="*/ 464902 h 464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7100" h="464902">
                  <a:moveTo>
                    <a:pt x="2967100" y="7633"/>
                  </a:moveTo>
                  <a:lnTo>
                    <a:pt x="1574620" y="0"/>
                  </a:lnTo>
                  <a:lnTo>
                    <a:pt x="1011236" y="464902"/>
                  </a:lnTo>
                  <a:lnTo>
                    <a:pt x="955356" y="464902"/>
                  </a:lnTo>
                  <a:lnTo>
                    <a:pt x="0" y="464902"/>
                  </a:lnTo>
                </a:path>
              </a:pathLst>
            </a:custGeom>
            <a:noFill/>
            <a:ln w="19050">
              <a:solidFill>
                <a:schemeClr val="accent3"/>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lvl="0" indent="0" algn="l" defTabSz="913943" eaLnBrk="1" fontAlgn="base" latinLnBrk="0" hangingPunct="1">
                <a:lnSpc>
                  <a:spcPct val="100000"/>
                </a:lnSpc>
                <a:spcBef>
                  <a:spcPct val="50000"/>
                </a:spcBef>
                <a:spcAft>
                  <a:spcPct val="0"/>
                </a:spcAft>
                <a:buClrTx/>
                <a:buSzTx/>
                <a:buFontTx/>
                <a:buNone/>
                <a:tabLst/>
                <a:defRPr/>
              </a:pPr>
              <a:endParaRPr kumimoji="0" lang="en-US" sz="2399" b="0" i="0" u="none" strike="noStrike" kern="1200" cap="none" spc="0" normalizeH="0" baseline="0" noProof="0">
                <a:ln>
                  <a:noFill/>
                </a:ln>
                <a:solidFill>
                  <a:srgbClr val="000000"/>
                </a:solidFill>
                <a:effectLst/>
                <a:uLnTx/>
                <a:uFillTx/>
                <a:latin typeface="Arial"/>
                <a:ea typeface="ヒラギノ角ゴ Pro W3" charset="0"/>
                <a:cs typeface="+mn-cs"/>
              </a:endParaRPr>
            </a:p>
          </p:txBody>
        </p:sp>
        <p:sp>
          <p:nvSpPr>
            <p:cNvPr id="93" name="Oval 92">
              <a:extLst>
                <a:ext uri="{FF2B5EF4-FFF2-40B4-BE49-F238E27FC236}">
                  <a16:creationId xmlns:a16="http://schemas.microsoft.com/office/drawing/2014/main" id="{411DE4A1-5A8D-A048-A4B8-683CE5646B70}"/>
                </a:ext>
              </a:extLst>
            </p:cNvPr>
            <p:cNvSpPr/>
            <p:nvPr/>
          </p:nvSpPr>
          <p:spPr>
            <a:xfrm>
              <a:off x="1473416" y="4384544"/>
              <a:ext cx="701133" cy="697781"/>
            </a:xfrm>
            <a:prstGeom prst="ellipse">
              <a:avLst/>
            </a:prstGeom>
            <a:blipFill>
              <a:blip r:embed="rId6">
                <a:extLst>
                  <a:ext uri="{BEBA8EAE-BF5A-486C-A8C5-ECC9F3942E4B}">
                    <a14:imgProps xmlns:a14="http://schemas.microsoft.com/office/drawing/2010/main">
                      <a14:imgLayer r:embed="rId7">
                        <a14:imgEffect>
                          <a14:brightnessContrast contrast="74000"/>
                        </a14:imgEffect>
                      </a14:imgLayer>
                    </a14:imgProps>
                  </a:ext>
                </a:extLst>
              </a:blip>
              <a:stretch>
                <a:fillRect l="-2924" t="-2924" r="-2924" b="-2924"/>
              </a:stretch>
            </a:blip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nchorCtr="0"/>
            <a:lstStyle/>
            <a:p>
              <a:pPr marL="0" marR="0" lvl="0" indent="0" algn="ctr" defTabSz="914400" eaLnBrk="1" fontAlgn="auto" latinLnBrk="0" hangingPunct="1">
                <a:lnSpc>
                  <a:spcPct val="110000"/>
                </a:lnSpc>
                <a:spcBef>
                  <a:spcPct val="0"/>
                </a:spcBef>
                <a:spcAft>
                  <a:spcPts val="0"/>
                </a:spcAft>
                <a:buClrTx/>
                <a:buSzTx/>
                <a:buFontTx/>
                <a:buNone/>
                <a:tabLst/>
                <a:defRPr/>
              </a:pPr>
              <a:endParaRPr kumimoji="0" lang="en-US" sz="1799" b="1" i="0" u="none" strike="noStrike" kern="1200" cap="none" spc="0" normalizeH="0" baseline="0" noProof="0">
                <a:ln>
                  <a:noFill/>
                </a:ln>
                <a:solidFill>
                  <a:srgbClr val="000028"/>
                </a:solidFill>
                <a:effectLst/>
                <a:uLnTx/>
                <a:uFillTx/>
                <a:latin typeface="Arial"/>
                <a:ea typeface="+mn-ea"/>
                <a:cs typeface="+mn-cs"/>
              </a:endParaRPr>
            </a:p>
          </p:txBody>
        </p:sp>
      </p:grpSp>
      <p:sp>
        <p:nvSpPr>
          <p:cNvPr id="131" name="Textfeld 168">
            <a:extLst>
              <a:ext uri="{FF2B5EF4-FFF2-40B4-BE49-F238E27FC236}">
                <a16:creationId xmlns:a16="http://schemas.microsoft.com/office/drawing/2014/main" id="{E260F5E4-F30D-6546-BB5D-B48C0D967966}"/>
              </a:ext>
            </a:extLst>
          </p:cNvPr>
          <p:cNvSpPr txBox="1"/>
          <p:nvPr/>
        </p:nvSpPr>
        <p:spPr bwMode="gray">
          <a:xfrm flipH="1">
            <a:off x="2428205" y="4866978"/>
            <a:ext cx="1172949" cy="478074"/>
          </a:xfrm>
          <a:prstGeom prst="rect">
            <a:avLst/>
          </a:prstGeom>
          <a:noFill/>
        </p:spPr>
        <p:txBody>
          <a:bodyPr wrap="square" lIns="107944" tIns="53972" rIns="107944" bIns="53972"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tab pos="0" algn="l"/>
              </a:tabLst>
              <a:defRPr/>
            </a:pPr>
            <a:r>
              <a:rPr kumimoji="0" lang="en-US" sz="1199" b="1" i="0" u="none" strike="noStrike" kern="1200" cap="none" spc="0" normalizeH="0" baseline="0" noProof="0">
                <a:ln>
                  <a:noFill/>
                </a:ln>
                <a:solidFill>
                  <a:srgbClr val="00BEDC"/>
                </a:solidFill>
                <a:effectLst/>
                <a:uLnTx/>
                <a:uFillTx/>
                <a:latin typeface="Arial"/>
                <a:ea typeface="+mn-ea"/>
                <a:cs typeface="+mn-cs"/>
              </a:rPr>
              <a:t>Object</a:t>
            </a:r>
            <a:r>
              <a:rPr kumimoji="0" lang="en-US" sz="1199" b="1" i="0" u="none" strike="noStrike" kern="1200" cap="none" spc="0" normalizeH="0" noProof="0">
                <a:ln>
                  <a:noFill/>
                </a:ln>
                <a:solidFill>
                  <a:srgbClr val="00BEDC"/>
                </a:solidFill>
                <a:effectLst/>
                <a:uLnTx/>
                <a:uFillTx/>
                <a:latin typeface="Arial"/>
                <a:ea typeface="+mn-ea"/>
                <a:cs typeface="+mn-cs"/>
              </a:rPr>
              <a:t> recognition</a:t>
            </a:r>
            <a:endParaRPr kumimoji="0" lang="en-US" sz="1199" b="1" i="0" u="none" strike="noStrike" kern="1200" cap="none" spc="0" normalizeH="0" baseline="0" noProof="0">
              <a:ln>
                <a:noFill/>
              </a:ln>
              <a:solidFill>
                <a:srgbClr val="00BEDC"/>
              </a:solidFill>
              <a:effectLst/>
              <a:uLnTx/>
              <a:uFillTx/>
              <a:latin typeface="Arial"/>
              <a:ea typeface="+mn-ea"/>
              <a:cs typeface="+mn-cs"/>
            </a:endParaRPr>
          </a:p>
        </p:txBody>
      </p:sp>
      <p:sp>
        <p:nvSpPr>
          <p:cNvPr id="145" name="Textfeld 144"/>
          <p:cNvSpPr txBox="1"/>
          <p:nvPr/>
        </p:nvSpPr>
        <p:spPr bwMode="gray">
          <a:xfrm flipH="1">
            <a:off x="2429091" y="1623871"/>
            <a:ext cx="1100605" cy="478074"/>
          </a:xfrm>
          <a:prstGeom prst="rect">
            <a:avLst/>
          </a:prstGeom>
          <a:noFill/>
        </p:spPr>
        <p:txBody>
          <a:bodyPr wrap="square" lIns="107944" tIns="53972" rIns="107944" bIns="53972"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a:ln>
                  <a:noFill/>
                </a:ln>
                <a:solidFill>
                  <a:srgbClr val="00BEDC"/>
                </a:solidFill>
                <a:effectLst/>
                <a:uLnTx/>
                <a:uFillTx/>
                <a:latin typeface="Arial"/>
                <a:cs typeface="+mn-cs"/>
              </a:rPr>
              <a:t>Anomaly</a:t>
            </a:r>
            <a:r>
              <a:rPr kumimoji="0" lang="en-US" sz="1199" b="1" i="0" u="none" strike="noStrike" kern="1200" cap="none" spc="0" normalizeH="0" noProof="0">
                <a:ln>
                  <a:noFill/>
                </a:ln>
                <a:solidFill>
                  <a:srgbClr val="00BEDC"/>
                </a:solidFill>
                <a:effectLst/>
                <a:uLnTx/>
                <a:uFillTx/>
                <a:latin typeface="Arial"/>
                <a:cs typeface="+mn-cs"/>
              </a:rPr>
              <a:t> detection</a:t>
            </a:r>
            <a:endParaRPr kumimoji="0" lang="en-US" sz="1199" b="1" i="0" u="none" strike="noStrike" kern="1200" cap="none" spc="0" normalizeH="0" baseline="0" noProof="0">
              <a:ln>
                <a:noFill/>
              </a:ln>
              <a:solidFill>
                <a:srgbClr val="00BEDC"/>
              </a:solidFill>
              <a:effectLst/>
              <a:uLnTx/>
              <a:uFillTx/>
              <a:latin typeface="Arial"/>
              <a:ea typeface="Arial Unicode MS"/>
              <a:cs typeface="+mn-cs"/>
            </a:endParaRPr>
          </a:p>
        </p:txBody>
      </p:sp>
      <p:sp>
        <p:nvSpPr>
          <p:cNvPr id="124" name="Textfeld 144">
            <a:extLst>
              <a:ext uri="{FF2B5EF4-FFF2-40B4-BE49-F238E27FC236}">
                <a16:creationId xmlns:a16="http://schemas.microsoft.com/office/drawing/2014/main" id="{3D9B8A3E-D239-D34E-8C74-A69F9A219B8B}"/>
              </a:ext>
            </a:extLst>
          </p:cNvPr>
          <p:cNvSpPr txBox="1"/>
          <p:nvPr/>
        </p:nvSpPr>
        <p:spPr bwMode="gray">
          <a:xfrm flipH="1">
            <a:off x="1274600" y="3778594"/>
            <a:ext cx="1385941" cy="478074"/>
          </a:xfrm>
          <a:prstGeom prst="rect">
            <a:avLst/>
          </a:prstGeom>
          <a:noFill/>
        </p:spPr>
        <p:txBody>
          <a:bodyPr wrap="square" lIns="107944" tIns="53972" rIns="107944" bIns="53972"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a:ln>
                  <a:noFill/>
                </a:ln>
                <a:solidFill>
                  <a:srgbClr val="00BEDC"/>
                </a:solidFill>
                <a:effectLst/>
                <a:uLnTx/>
                <a:uFillTx/>
                <a:latin typeface="Arial"/>
                <a:ea typeface="+mn-ea"/>
                <a:cs typeface="+mn-cs"/>
              </a:rPr>
              <a:t>Lifespan prediction</a:t>
            </a:r>
          </a:p>
        </p:txBody>
      </p:sp>
      <p:sp>
        <p:nvSpPr>
          <p:cNvPr id="129" name="Textfeld 139"/>
          <p:cNvSpPr txBox="1"/>
          <p:nvPr/>
        </p:nvSpPr>
        <p:spPr bwMode="gray">
          <a:xfrm flipH="1">
            <a:off x="3951211" y="1384745"/>
            <a:ext cx="1247712" cy="478074"/>
          </a:xfrm>
          <a:prstGeom prst="rect">
            <a:avLst/>
          </a:prstGeom>
          <a:noFill/>
          <a:ln w="22225">
            <a:noFill/>
          </a:ln>
        </p:spPr>
        <p:txBody>
          <a:bodyPr wrap="square" lIns="107944" tIns="53972" rIns="107944" bIns="53972"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tab pos="0" algn="l"/>
              </a:tabLst>
              <a:defRPr/>
            </a:pPr>
            <a:r>
              <a:rPr lang="en-US" sz="1199" b="1">
                <a:solidFill>
                  <a:srgbClr val="00BEDC"/>
                </a:solidFill>
                <a:latin typeface="Arial"/>
                <a:ea typeface="Arial Unicode MS"/>
              </a:rPr>
              <a:t>Visual inspection</a:t>
            </a:r>
            <a:endParaRPr kumimoji="0" lang="en-US" sz="1199" b="1" i="0" u="none" strike="noStrike" kern="1200" cap="none" spc="0" normalizeH="0" baseline="0" noProof="0">
              <a:ln>
                <a:noFill/>
              </a:ln>
              <a:solidFill>
                <a:srgbClr val="00BEDC"/>
              </a:solidFill>
              <a:effectLst/>
              <a:uLnTx/>
              <a:uFillTx/>
              <a:latin typeface="Arial"/>
              <a:ea typeface="Arial Unicode MS"/>
            </a:endParaRPr>
          </a:p>
        </p:txBody>
      </p:sp>
      <p:grpSp>
        <p:nvGrpSpPr>
          <p:cNvPr id="27" name="Gruppieren 26">
            <a:extLst>
              <a:ext uri="{FF2B5EF4-FFF2-40B4-BE49-F238E27FC236}">
                <a16:creationId xmlns:a16="http://schemas.microsoft.com/office/drawing/2014/main" id="{550097A3-70F9-354A-83A0-0D9E924A5284}"/>
              </a:ext>
            </a:extLst>
          </p:cNvPr>
          <p:cNvGrpSpPr/>
          <p:nvPr/>
        </p:nvGrpSpPr>
        <p:grpSpPr>
          <a:xfrm>
            <a:off x="2584309" y="3627385"/>
            <a:ext cx="2491293" cy="697781"/>
            <a:chOff x="2584309" y="3627385"/>
            <a:chExt cx="2491293" cy="697781"/>
          </a:xfrm>
        </p:grpSpPr>
        <p:sp>
          <p:nvSpPr>
            <p:cNvPr id="96" name="Freeform 95">
              <a:extLst>
                <a:ext uri="{FF2B5EF4-FFF2-40B4-BE49-F238E27FC236}">
                  <a16:creationId xmlns:a16="http://schemas.microsoft.com/office/drawing/2014/main" id="{E1B2F581-5399-4C40-BF86-05E4D9487BB4}"/>
                </a:ext>
              </a:extLst>
            </p:cNvPr>
            <p:cNvSpPr/>
            <p:nvPr/>
          </p:nvSpPr>
          <p:spPr bwMode="auto">
            <a:xfrm>
              <a:off x="2995983" y="3765676"/>
              <a:ext cx="2079619" cy="201639"/>
            </a:xfrm>
            <a:custGeom>
              <a:avLst/>
              <a:gdLst>
                <a:gd name="connsiteX0" fmla="*/ 0 w 3129699"/>
                <a:gd name="connsiteY0" fmla="*/ 386499 h 386499"/>
                <a:gd name="connsiteX1" fmla="*/ 829559 w 3129699"/>
                <a:gd name="connsiteY1" fmla="*/ 386499 h 386499"/>
                <a:gd name="connsiteX2" fmla="*/ 1216058 w 3129699"/>
                <a:gd name="connsiteY2" fmla="*/ 0 h 386499"/>
                <a:gd name="connsiteX3" fmla="*/ 3129699 w 3129699"/>
                <a:gd name="connsiteY3" fmla="*/ 0 h 386499"/>
                <a:gd name="connsiteX0" fmla="*/ 0 w 2877120"/>
                <a:gd name="connsiteY0" fmla="*/ 386499 h 386499"/>
                <a:gd name="connsiteX1" fmla="*/ 829559 w 2877120"/>
                <a:gd name="connsiteY1" fmla="*/ 386499 h 386499"/>
                <a:gd name="connsiteX2" fmla="*/ 1216058 w 2877120"/>
                <a:gd name="connsiteY2" fmla="*/ 0 h 386499"/>
                <a:gd name="connsiteX3" fmla="*/ 2877120 w 2877120"/>
                <a:gd name="connsiteY3" fmla="*/ 0 h 386499"/>
                <a:gd name="connsiteX0" fmla="*/ 0 w 3464861"/>
                <a:gd name="connsiteY0" fmla="*/ 386499 h 386499"/>
                <a:gd name="connsiteX1" fmla="*/ 829559 w 3464861"/>
                <a:gd name="connsiteY1" fmla="*/ 386499 h 386499"/>
                <a:gd name="connsiteX2" fmla="*/ 1216058 w 3464861"/>
                <a:gd name="connsiteY2" fmla="*/ 0 h 386499"/>
                <a:gd name="connsiteX3" fmla="*/ 3464861 w 3464861"/>
                <a:gd name="connsiteY3" fmla="*/ 19003 h 386499"/>
                <a:gd name="connsiteX0" fmla="*/ 0 w 3464861"/>
                <a:gd name="connsiteY0" fmla="*/ 380508 h 380508"/>
                <a:gd name="connsiteX1" fmla="*/ 829559 w 3464861"/>
                <a:gd name="connsiteY1" fmla="*/ 380508 h 380508"/>
                <a:gd name="connsiteX2" fmla="*/ 1147289 w 3464861"/>
                <a:gd name="connsiteY2" fmla="*/ 0 h 380508"/>
                <a:gd name="connsiteX3" fmla="*/ 3464861 w 3464861"/>
                <a:gd name="connsiteY3" fmla="*/ 13012 h 380508"/>
              </a:gdLst>
              <a:ahLst/>
              <a:cxnLst>
                <a:cxn ang="0">
                  <a:pos x="connsiteX0" y="connsiteY0"/>
                </a:cxn>
                <a:cxn ang="0">
                  <a:pos x="connsiteX1" y="connsiteY1"/>
                </a:cxn>
                <a:cxn ang="0">
                  <a:pos x="connsiteX2" y="connsiteY2"/>
                </a:cxn>
                <a:cxn ang="0">
                  <a:pos x="connsiteX3" y="connsiteY3"/>
                </a:cxn>
              </a:cxnLst>
              <a:rect l="l" t="t" r="r" b="b"/>
              <a:pathLst>
                <a:path w="3464861" h="380508">
                  <a:moveTo>
                    <a:pt x="0" y="380508"/>
                  </a:moveTo>
                  <a:lnTo>
                    <a:pt x="829559" y="380508"/>
                  </a:lnTo>
                  <a:lnTo>
                    <a:pt x="1147289" y="0"/>
                  </a:lnTo>
                  <a:lnTo>
                    <a:pt x="3464861" y="13012"/>
                  </a:lnTo>
                </a:path>
              </a:pathLst>
            </a:custGeom>
            <a:noFill/>
            <a:ln w="19050">
              <a:solidFill>
                <a:schemeClr val="accent3"/>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lvl="0" indent="0" algn="l" defTabSz="913943" eaLnBrk="1" fontAlgn="base" latinLnBrk="0" hangingPunct="1">
                <a:lnSpc>
                  <a:spcPct val="100000"/>
                </a:lnSpc>
                <a:spcBef>
                  <a:spcPct val="50000"/>
                </a:spcBef>
                <a:spcAft>
                  <a:spcPct val="0"/>
                </a:spcAft>
                <a:buClrTx/>
                <a:buSzTx/>
                <a:buFontTx/>
                <a:buNone/>
                <a:tabLst/>
                <a:defRPr/>
              </a:pPr>
              <a:endParaRPr kumimoji="0" lang="en-US" sz="2399" b="0" i="0" u="none" strike="noStrike" kern="1200" cap="none" spc="0" normalizeH="0" baseline="0" noProof="0">
                <a:ln>
                  <a:noFill/>
                </a:ln>
                <a:solidFill>
                  <a:srgbClr val="000000"/>
                </a:solidFill>
                <a:effectLst/>
                <a:uLnTx/>
                <a:uFillTx/>
                <a:latin typeface="Arial"/>
                <a:ea typeface="ヒラギノ角ゴ Pro W3" charset="0"/>
                <a:cs typeface="+mn-cs"/>
              </a:endParaRPr>
            </a:p>
          </p:txBody>
        </p:sp>
        <p:sp>
          <p:nvSpPr>
            <p:cNvPr id="83" name="Oval 82">
              <a:extLst>
                <a:ext uri="{FF2B5EF4-FFF2-40B4-BE49-F238E27FC236}">
                  <a16:creationId xmlns:a16="http://schemas.microsoft.com/office/drawing/2014/main" id="{AF2E5197-525A-6846-85A5-51A3A0DF2763}"/>
                </a:ext>
              </a:extLst>
            </p:cNvPr>
            <p:cNvSpPr/>
            <p:nvPr/>
          </p:nvSpPr>
          <p:spPr>
            <a:xfrm>
              <a:off x="2584309" y="3627385"/>
              <a:ext cx="701133" cy="697781"/>
            </a:xfrm>
            <a:prstGeom prst="ellipse">
              <a:avLst/>
            </a:prstGeom>
            <a:blipFill>
              <a:blip r:embed="rId8">
                <a:extLst>
                  <a:ext uri="{BEBA8EAE-BF5A-486C-A8C5-ECC9F3942E4B}">
                    <a14:imgProps xmlns:a14="http://schemas.microsoft.com/office/drawing/2010/main">
                      <a14:imgLayer r:embed="rId9">
                        <a14:imgEffect>
                          <a14:brightnessContrast bright="-29000" contrast="80000"/>
                        </a14:imgEffect>
                      </a14:imgLayer>
                    </a14:imgProps>
                  </a:ext>
                </a:extLst>
              </a:blip>
              <a:stretch>
                <a:fillRect/>
              </a:stretch>
            </a:blip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nchorCtr="0"/>
            <a:lstStyle/>
            <a:p>
              <a:pPr marL="0" marR="0" lvl="0" indent="0" algn="ctr" defTabSz="914400" eaLnBrk="1" fontAlgn="auto" latinLnBrk="0" hangingPunct="1">
                <a:lnSpc>
                  <a:spcPct val="110000"/>
                </a:lnSpc>
                <a:spcBef>
                  <a:spcPct val="0"/>
                </a:spcBef>
                <a:spcAft>
                  <a:spcPts val="0"/>
                </a:spcAft>
                <a:buClrTx/>
                <a:buSzTx/>
                <a:buFontTx/>
                <a:buNone/>
                <a:tabLst/>
                <a:defRPr/>
              </a:pPr>
              <a:endParaRPr kumimoji="0" lang="en-US" sz="1799" b="1" i="0" u="none" strike="noStrike" kern="1200" cap="none" spc="0" normalizeH="0" baseline="0" noProof="0">
                <a:ln>
                  <a:noFill/>
                </a:ln>
                <a:solidFill>
                  <a:srgbClr val="000028"/>
                </a:solidFill>
                <a:effectLst/>
                <a:uLnTx/>
                <a:uFillTx/>
                <a:latin typeface="Arial"/>
                <a:ea typeface="+mn-ea"/>
                <a:cs typeface="+mn-cs"/>
              </a:endParaRPr>
            </a:p>
          </p:txBody>
        </p:sp>
      </p:grpSp>
      <p:grpSp>
        <p:nvGrpSpPr>
          <p:cNvPr id="23" name="Gruppieren 22">
            <a:extLst>
              <a:ext uri="{FF2B5EF4-FFF2-40B4-BE49-F238E27FC236}">
                <a16:creationId xmlns:a16="http://schemas.microsoft.com/office/drawing/2014/main" id="{51FB435C-40E7-4D4E-83D5-C613DE75CA38}"/>
              </a:ext>
            </a:extLst>
          </p:cNvPr>
          <p:cNvGrpSpPr/>
          <p:nvPr/>
        </p:nvGrpSpPr>
        <p:grpSpPr>
          <a:xfrm>
            <a:off x="2069055" y="2239171"/>
            <a:ext cx="3359877" cy="1615338"/>
            <a:chOff x="2069055" y="2239171"/>
            <a:chExt cx="3359877" cy="1615338"/>
          </a:xfrm>
        </p:grpSpPr>
        <p:sp>
          <p:nvSpPr>
            <p:cNvPr id="94" name="Freeform 93">
              <a:extLst>
                <a:ext uri="{FF2B5EF4-FFF2-40B4-BE49-F238E27FC236}">
                  <a16:creationId xmlns:a16="http://schemas.microsoft.com/office/drawing/2014/main" id="{EFD4F5FE-6E57-D94B-8341-A75767A8D51E}"/>
                </a:ext>
              </a:extLst>
            </p:cNvPr>
            <p:cNvSpPr/>
            <p:nvPr/>
          </p:nvSpPr>
          <p:spPr bwMode="auto">
            <a:xfrm>
              <a:off x="2473491" y="2577190"/>
              <a:ext cx="2955441" cy="1277319"/>
            </a:xfrm>
            <a:custGeom>
              <a:avLst/>
              <a:gdLst>
                <a:gd name="connsiteX0" fmla="*/ 0 w 3018817"/>
                <a:gd name="connsiteY0" fmla="*/ 0 h 1215957"/>
                <a:gd name="connsiteX1" fmla="*/ 797668 w 3018817"/>
                <a:gd name="connsiteY1" fmla="*/ 0 h 1215957"/>
                <a:gd name="connsiteX2" fmla="*/ 1128408 w 3018817"/>
                <a:gd name="connsiteY2" fmla="*/ 330740 h 1215957"/>
                <a:gd name="connsiteX3" fmla="*/ 1170562 w 3018817"/>
                <a:gd name="connsiteY3" fmla="*/ 330740 h 1215957"/>
                <a:gd name="connsiteX4" fmla="*/ 2062264 w 3018817"/>
                <a:gd name="connsiteY4" fmla="*/ 330740 h 1215957"/>
                <a:gd name="connsiteX5" fmla="*/ 2947481 w 3018817"/>
                <a:gd name="connsiteY5" fmla="*/ 1215957 h 1215957"/>
                <a:gd name="connsiteX6" fmla="*/ 3018817 w 3018817"/>
                <a:gd name="connsiteY6" fmla="*/ 1215957 h 1215957"/>
                <a:gd name="connsiteX0" fmla="*/ 0 w 2947481"/>
                <a:gd name="connsiteY0" fmla="*/ 0 h 1215957"/>
                <a:gd name="connsiteX1" fmla="*/ 797668 w 2947481"/>
                <a:gd name="connsiteY1" fmla="*/ 0 h 1215957"/>
                <a:gd name="connsiteX2" fmla="*/ 1128408 w 2947481"/>
                <a:gd name="connsiteY2" fmla="*/ 330740 h 1215957"/>
                <a:gd name="connsiteX3" fmla="*/ 1170562 w 2947481"/>
                <a:gd name="connsiteY3" fmla="*/ 330740 h 1215957"/>
                <a:gd name="connsiteX4" fmla="*/ 2062264 w 2947481"/>
                <a:gd name="connsiteY4" fmla="*/ 330740 h 1215957"/>
                <a:gd name="connsiteX5" fmla="*/ 2947481 w 2947481"/>
                <a:gd name="connsiteY5" fmla="*/ 1215957 h 1215957"/>
                <a:gd name="connsiteX6" fmla="*/ 2940995 w 2947481"/>
                <a:gd name="connsiteY6" fmla="*/ 1215957 h 1215957"/>
                <a:gd name="connsiteX0" fmla="*/ 0 w 3084893"/>
                <a:gd name="connsiteY0" fmla="*/ 0 h 1267112"/>
                <a:gd name="connsiteX1" fmla="*/ 797668 w 3084893"/>
                <a:gd name="connsiteY1" fmla="*/ 0 h 1267112"/>
                <a:gd name="connsiteX2" fmla="*/ 1128408 w 3084893"/>
                <a:gd name="connsiteY2" fmla="*/ 330740 h 1267112"/>
                <a:gd name="connsiteX3" fmla="*/ 1170562 w 3084893"/>
                <a:gd name="connsiteY3" fmla="*/ 330740 h 1267112"/>
                <a:gd name="connsiteX4" fmla="*/ 2062264 w 3084893"/>
                <a:gd name="connsiteY4" fmla="*/ 330740 h 1267112"/>
                <a:gd name="connsiteX5" fmla="*/ 2947481 w 3084893"/>
                <a:gd name="connsiteY5" fmla="*/ 1215957 h 1267112"/>
                <a:gd name="connsiteX6" fmla="*/ 3084869 w 3084893"/>
                <a:gd name="connsiteY6" fmla="*/ 1267112 h 1267112"/>
                <a:gd name="connsiteX0" fmla="*/ 0 w 2947481"/>
                <a:gd name="connsiteY0" fmla="*/ 0 h 1215957"/>
                <a:gd name="connsiteX1" fmla="*/ 797668 w 2947481"/>
                <a:gd name="connsiteY1" fmla="*/ 0 h 1215957"/>
                <a:gd name="connsiteX2" fmla="*/ 1128408 w 2947481"/>
                <a:gd name="connsiteY2" fmla="*/ 330740 h 1215957"/>
                <a:gd name="connsiteX3" fmla="*/ 1170562 w 2947481"/>
                <a:gd name="connsiteY3" fmla="*/ 330740 h 1215957"/>
                <a:gd name="connsiteX4" fmla="*/ 2062264 w 2947481"/>
                <a:gd name="connsiteY4" fmla="*/ 330740 h 1215957"/>
                <a:gd name="connsiteX5" fmla="*/ 2947481 w 2947481"/>
                <a:gd name="connsiteY5" fmla="*/ 1215957 h 1215957"/>
                <a:gd name="connsiteX0" fmla="*/ 0 w 2909115"/>
                <a:gd name="connsiteY0" fmla="*/ 0 h 1177591"/>
                <a:gd name="connsiteX1" fmla="*/ 797668 w 2909115"/>
                <a:gd name="connsiteY1" fmla="*/ 0 h 1177591"/>
                <a:gd name="connsiteX2" fmla="*/ 1128408 w 2909115"/>
                <a:gd name="connsiteY2" fmla="*/ 330740 h 1177591"/>
                <a:gd name="connsiteX3" fmla="*/ 1170562 w 2909115"/>
                <a:gd name="connsiteY3" fmla="*/ 330740 h 1177591"/>
                <a:gd name="connsiteX4" fmla="*/ 2062264 w 2909115"/>
                <a:gd name="connsiteY4" fmla="*/ 330740 h 1177591"/>
                <a:gd name="connsiteX5" fmla="*/ 2909115 w 2909115"/>
                <a:gd name="connsiteY5" fmla="*/ 1177591 h 117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9115" h="1177591">
                  <a:moveTo>
                    <a:pt x="0" y="0"/>
                  </a:moveTo>
                  <a:lnTo>
                    <a:pt x="797668" y="0"/>
                  </a:lnTo>
                  <a:lnTo>
                    <a:pt x="1128408" y="330740"/>
                  </a:lnTo>
                  <a:lnTo>
                    <a:pt x="1170562" y="330740"/>
                  </a:lnTo>
                  <a:lnTo>
                    <a:pt x="2062264" y="330740"/>
                  </a:lnTo>
                  <a:lnTo>
                    <a:pt x="2909115" y="1177591"/>
                  </a:lnTo>
                </a:path>
              </a:pathLst>
            </a:custGeom>
            <a:noFill/>
            <a:ln w="19050">
              <a:solidFill>
                <a:schemeClr val="accent3"/>
              </a:solidFill>
            </a:ln>
            <a:effectLst/>
          </p:spPr>
          <p:txBody>
            <a:bodyPr vert="horz" wrap="square" lIns="0" tIns="0" rIns="0" bIns="0" numCol="1" rtlCol="0" anchor="t" anchorCtr="0" compatLnSpc="1">
              <a:prstTxWarp prst="textNoShape">
                <a:avLst/>
              </a:prstTxWarp>
              <a:noAutofit/>
            </a:bodyPr>
            <a:lstStyle/>
            <a:p>
              <a:pPr marL="0" marR="0" lvl="0" indent="0" algn="l" defTabSz="913943" eaLnBrk="1" fontAlgn="base" latinLnBrk="0" hangingPunct="1">
                <a:lnSpc>
                  <a:spcPct val="100000"/>
                </a:lnSpc>
                <a:spcBef>
                  <a:spcPct val="50000"/>
                </a:spcBef>
                <a:spcAft>
                  <a:spcPct val="0"/>
                </a:spcAft>
                <a:buClrTx/>
                <a:buSzTx/>
                <a:buFontTx/>
                <a:buNone/>
                <a:tabLst/>
                <a:defRPr/>
              </a:pPr>
              <a:endParaRPr kumimoji="0" lang="en-US" sz="2399" b="0" i="0" u="none" strike="noStrike" kern="1200" cap="none" spc="0" normalizeH="0" baseline="0" noProof="0">
                <a:ln>
                  <a:noFill/>
                </a:ln>
                <a:solidFill>
                  <a:srgbClr val="000000"/>
                </a:solidFill>
                <a:effectLst/>
                <a:uLnTx/>
                <a:uFillTx/>
                <a:latin typeface="Arial"/>
                <a:ea typeface="ヒラギノ角ゴ Pro W3" charset="0"/>
                <a:cs typeface="+mn-cs"/>
              </a:endParaRPr>
            </a:p>
          </p:txBody>
        </p:sp>
        <p:sp>
          <p:nvSpPr>
            <p:cNvPr id="86" name="Oval 85">
              <a:extLst>
                <a:ext uri="{FF2B5EF4-FFF2-40B4-BE49-F238E27FC236}">
                  <a16:creationId xmlns:a16="http://schemas.microsoft.com/office/drawing/2014/main" id="{7EA40A6A-6649-7443-8A69-264184CB671A}"/>
                </a:ext>
              </a:extLst>
            </p:cNvPr>
            <p:cNvSpPr/>
            <p:nvPr/>
          </p:nvSpPr>
          <p:spPr>
            <a:xfrm>
              <a:off x="2069055" y="2239171"/>
              <a:ext cx="701133" cy="697781"/>
            </a:xfrm>
            <a:prstGeom prst="ellipse">
              <a:avLst/>
            </a:prstGeom>
            <a:blipFill>
              <a:blip r:embed="rId10">
                <a:extLst>
                  <a:ext uri="{BEBA8EAE-BF5A-486C-A8C5-ECC9F3942E4B}">
                    <a14:imgProps xmlns:a14="http://schemas.microsoft.com/office/drawing/2010/main">
                      <a14:imgLayer r:embed="rId11">
                        <a14:imgEffect>
                          <a14:colorTemperature colorTemp="4149"/>
                        </a14:imgEffect>
                        <a14:imgEffect>
                          <a14:brightnessContrast bright="-29000" contrast="75000"/>
                        </a14:imgEffect>
                      </a14:imgLayer>
                    </a14:imgProps>
                  </a:ext>
                </a:extLst>
              </a:blip>
              <a:stretch>
                <a:fillRect l="-8904" r="-8904"/>
              </a:stretch>
            </a:blip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nchorCtr="0"/>
            <a:lstStyle/>
            <a:p>
              <a:pPr marL="0" marR="0" lvl="0" indent="0" algn="ctr" defTabSz="914400" eaLnBrk="1" fontAlgn="auto" latinLnBrk="0" hangingPunct="1">
                <a:lnSpc>
                  <a:spcPct val="110000"/>
                </a:lnSpc>
                <a:spcBef>
                  <a:spcPct val="0"/>
                </a:spcBef>
                <a:spcAft>
                  <a:spcPts val="0"/>
                </a:spcAft>
                <a:buClrTx/>
                <a:buSzTx/>
                <a:buFontTx/>
                <a:buNone/>
                <a:tabLst/>
                <a:defRPr/>
              </a:pPr>
              <a:endParaRPr kumimoji="0" lang="en-US" sz="1799" b="1" i="0" u="none" strike="noStrike" kern="1200" cap="none" spc="0" normalizeH="0" baseline="0" noProof="0">
                <a:ln>
                  <a:noFill/>
                </a:ln>
                <a:solidFill>
                  <a:srgbClr val="000028"/>
                </a:solidFill>
                <a:effectLst/>
                <a:uLnTx/>
                <a:uFillTx/>
                <a:latin typeface="Arial"/>
                <a:ea typeface="+mn-ea"/>
                <a:cs typeface="+mn-cs"/>
              </a:endParaRPr>
            </a:p>
          </p:txBody>
        </p:sp>
      </p:grpSp>
      <p:grpSp>
        <p:nvGrpSpPr>
          <p:cNvPr id="20" name="Gruppieren 19">
            <a:extLst>
              <a:ext uri="{FF2B5EF4-FFF2-40B4-BE49-F238E27FC236}">
                <a16:creationId xmlns:a16="http://schemas.microsoft.com/office/drawing/2014/main" id="{214EC028-17EC-1C41-957F-8483E6C27A58}"/>
              </a:ext>
            </a:extLst>
          </p:cNvPr>
          <p:cNvGrpSpPr/>
          <p:nvPr/>
        </p:nvGrpSpPr>
        <p:grpSpPr>
          <a:xfrm>
            <a:off x="4790122" y="1731022"/>
            <a:ext cx="701134" cy="1445576"/>
            <a:chOff x="4790122" y="1731022"/>
            <a:chExt cx="701134" cy="1445576"/>
          </a:xfrm>
        </p:grpSpPr>
        <p:sp>
          <p:nvSpPr>
            <p:cNvPr id="103" name="Freeform 102">
              <a:extLst>
                <a:ext uri="{FF2B5EF4-FFF2-40B4-BE49-F238E27FC236}">
                  <a16:creationId xmlns:a16="http://schemas.microsoft.com/office/drawing/2014/main" id="{E38276D7-DBEB-FA43-BC8B-6373A0D89216}"/>
                </a:ext>
              </a:extLst>
            </p:cNvPr>
            <p:cNvSpPr/>
            <p:nvPr/>
          </p:nvSpPr>
          <p:spPr bwMode="auto">
            <a:xfrm flipH="1" flipV="1">
              <a:off x="5145620" y="2239082"/>
              <a:ext cx="280061" cy="937516"/>
            </a:xfrm>
            <a:custGeom>
              <a:avLst/>
              <a:gdLst>
                <a:gd name="connsiteX0" fmla="*/ 0 w 480906"/>
                <a:gd name="connsiteY0" fmla="*/ 0 h 1466426"/>
                <a:gd name="connsiteX1" fmla="*/ 480906 w 480906"/>
                <a:gd name="connsiteY1" fmla="*/ 480906 h 1466426"/>
                <a:gd name="connsiteX2" fmla="*/ 480906 w 480906"/>
                <a:gd name="connsiteY2" fmla="*/ 1466426 h 1466426"/>
                <a:gd name="connsiteX0" fmla="*/ 0 w 480906"/>
                <a:gd name="connsiteY0" fmla="*/ 0 h 1389693"/>
                <a:gd name="connsiteX1" fmla="*/ 480906 w 480906"/>
                <a:gd name="connsiteY1" fmla="*/ 480906 h 1389693"/>
                <a:gd name="connsiteX2" fmla="*/ 480906 w 480906"/>
                <a:gd name="connsiteY2" fmla="*/ 1389693 h 1389693"/>
              </a:gdLst>
              <a:ahLst/>
              <a:cxnLst>
                <a:cxn ang="0">
                  <a:pos x="connsiteX0" y="connsiteY0"/>
                </a:cxn>
                <a:cxn ang="0">
                  <a:pos x="connsiteX1" y="connsiteY1"/>
                </a:cxn>
                <a:cxn ang="0">
                  <a:pos x="connsiteX2" y="connsiteY2"/>
                </a:cxn>
              </a:cxnLst>
              <a:rect l="l" t="t" r="r" b="b"/>
              <a:pathLst>
                <a:path w="480906" h="1389693">
                  <a:moveTo>
                    <a:pt x="0" y="0"/>
                  </a:moveTo>
                  <a:lnTo>
                    <a:pt x="480906" y="480906"/>
                  </a:lnTo>
                  <a:lnTo>
                    <a:pt x="480906" y="1389693"/>
                  </a:lnTo>
                </a:path>
              </a:pathLst>
            </a:custGeom>
            <a:noFill/>
            <a:ln w="19050">
              <a:solidFill>
                <a:schemeClr val="accent3"/>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lvl="0" indent="0" algn="l" defTabSz="913943" eaLnBrk="1" fontAlgn="base" latinLnBrk="0" hangingPunct="1">
                <a:lnSpc>
                  <a:spcPct val="100000"/>
                </a:lnSpc>
                <a:spcBef>
                  <a:spcPct val="50000"/>
                </a:spcBef>
                <a:spcAft>
                  <a:spcPct val="0"/>
                </a:spcAft>
                <a:buClrTx/>
                <a:buSzTx/>
                <a:buFontTx/>
                <a:buNone/>
                <a:tabLst/>
                <a:defRPr/>
              </a:pPr>
              <a:endParaRPr kumimoji="0" lang="en-US" sz="2399" b="0" i="0" u="none" strike="noStrike" kern="1200" cap="none" spc="0" normalizeH="0" baseline="0" noProof="0">
                <a:ln>
                  <a:noFill/>
                </a:ln>
                <a:solidFill>
                  <a:srgbClr val="000000"/>
                </a:solidFill>
                <a:effectLst/>
                <a:uLnTx/>
                <a:uFillTx/>
                <a:latin typeface="Arial"/>
                <a:ea typeface="ヒラギノ角ゴ Pro W3" charset="0"/>
                <a:cs typeface="+mn-cs"/>
              </a:endParaRPr>
            </a:p>
          </p:txBody>
        </p:sp>
        <p:sp>
          <p:nvSpPr>
            <p:cNvPr id="87" name="Oval 86">
              <a:extLst>
                <a:ext uri="{FF2B5EF4-FFF2-40B4-BE49-F238E27FC236}">
                  <a16:creationId xmlns:a16="http://schemas.microsoft.com/office/drawing/2014/main" id="{AD530D63-4B8B-944F-977E-451B41C74DEE}"/>
                </a:ext>
              </a:extLst>
            </p:cNvPr>
            <p:cNvSpPr/>
            <p:nvPr/>
          </p:nvSpPr>
          <p:spPr>
            <a:xfrm>
              <a:off x="4790122" y="1731022"/>
              <a:ext cx="701134" cy="697781"/>
            </a:xfrm>
            <a:prstGeom prst="ellipse">
              <a:avLst/>
            </a:prstGeom>
            <a:blipFill>
              <a:blip r:embed="rId12">
                <a:extLst>
                  <a:ext uri="{BEBA8EAE-BF5A-486C-A8C5-ECC9F3942E4B}">
                    <a14:imgProps xmlns:a14="http://schemas.microsoft.com/office/drawing/2010/main">
                      <a14:imgLayer r:embed="rId13">
                        <a14:imgEffect>
                          <a14:colorTemperature colorTemp="1669"/>
                        </a14:imgEffect>
                        <a14:imgEffect>
                          <a14:brightnessContrast bright="36000" contrast="43000"/>
                        </a14:imgEffect>
                      </a14:imgLayer>
                    </a14:imgProps>
                  </a:ext>
                </a:extLst>
              </a:blip>
              <a:stretch>
                <a:fillRect l="-5225" t="-5225" r="-5225" b="-5225"/>
              </a:stretch>
            </a:blip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nchorCtr="0"/>
            <a:lstStyle/>
            <a:p>
              <a:pPr marL="0" marR="0" lvl="0" indent="0" algn="ctr" defTabSz="914400" eaLnBrk="1" fontAlgn="auto" latinLnBrk="0" hangingPunct="1">
                <a:lnSpc>
                  <a:spcPct val="110000"/>
                </a:lnSpc>
                <a:spcBef>
                  <a:spcPct val="0"/>
                </a:spcBef>
                <a:spcAft>
                  <a:spcPts val="0"/>
                </a:spcAft>
                <a:buClrTx/>
                <a:buSzTx/>
                <a:buFontTx/>
                <a:buNone/>
                <a:tabLst/>
                <a:defRPr/>
              </a:pPr>
              <a:endParaRPr kumimoji="0" lang="en-US" sz="1799" b="1" i="0" u="none" strike="noStrike" kern="1200" cap="none" spc="0" normalizeH="0" baseline="0" noProof="0">
                <a:ln>
                  <a:noFill/>
                </a:ln>
                <a:solidFill>
                  <a:srgbClr val="000028"/>
                </a:solidFill>
                <a:effectLst/>
                <a:uLnTx/>
                <a:uFillTx/>
                <a:latin typeface="Arial"/>
                <a:ea typeface="+mn-ea"/>
                <a:cs typeface="+mn-cs"/>
              </a:endParaRPr>
            </a:p>
          </p:txBody>
        </p:sp>
      </p:grpSp>
      <p:grpSp>
        <p:nvGrpSpPr>
          <p:cNvPr id="22" name="Gruppieren 21">
            <a:extLst>
              <a:ext uri="{FF2B5EF4-FFF2-40B4-BE49-F238E27FC236}">
                <a16:creationId xmlns:a16="http://schemas.microsoft.com/office/drawing/2014/main" id="{9B2E60AC-92C5-EC42-BBBB-9D66C044FCB5}"/>
              </a:ext>
            </a:extLst>
          </p:cNvPr>
          <p:cNvGrpSpPr/>
          <p:nvPr/>
        </p:nvGrpSpPr>
        <p:grpSpPr>
          <a:xfrm>
            <a:off x="3358893" y="1936391"/>
            <a:ext cx="1895237" cy="1398940"/>
            <a:chOff x="3358893" y="1936391"/>
            <a:chExt cx="1895237" cy="1398940"/>
          </a:xfrm>
        </p:grpSpPr>
        <p:sp>
          <p:nvSpPr>
            <p:cNvPr id="92" name="Freeform 91">
              <a:extLst>
                <a:ext uri="{FF2B5EF4-FFF2-40B4-BE49-F238E27FC236}">
                  <a16:creationId xmlns:a16="http://schemas.microsoft.com/office/drawing/2014/main" id="{E57611D8-2C80-2649-BA1F-36B8511DE547}"/>
                </a:ext>
              </a:extLst>
            </p:cNvPr>
            <p:cNvSpPr/>
            <p:nvPr/>
          </p:nvSpPr>
          <p:spPr bwMode="auto">
            <a:xfrm>
              <a:off x="3707614" y="2284117"/>
              <a:ext cx="1546516" cy="1051214"/>
            </a:xfrm>
            <a:custGeom>
              <a:avLst/>
              <a:gdLst>
                <a:gd name="connsiteX0" fmla="*/ 0 w 1778924"/>
                <a:gd name="connsiteY0" fmla="*/ 0 h 673331"/>
                <a:gd name="connsiteX1" fmla="*/ 1105593 w 1778924"/>
                <a:gd name="connsiteY1" fmla="*/ 0 h 673331"/>
                <a:gd name="connsiteX2" fmla="*/ 1778924 w 1778924"/>
                <a:gd name="connsiteY2" fmla="*/ 673331 h 673331"/>
                <a:gd name="connsiteX0" fmla="*/ 0 w 2199557"/>
                <a:gd name="connsiteY0" fmla="*/ 0 h 1093964"/>
                <a:gd name="connsiteX1" fmla="*/ 1105593 w 2199557"/>
                <a:gd name="connsiteY1" fmla="*/ 0 h 1093964"/>
                <a:gd name="connsiteX2" fmla="*/ 2199557 w 2199557"/>
                <a:gd name="connsiteY2" fmla="*/ 1093964 h 1093964"/>
                <a:gd name="connsiteX0" fmla="*/ 0 w 1715829"/>
                <a:gd name="connsiteY0" fmla="*/ 0 h 1104479"/>
                <a:gd name="connsiteX1" fmla="*/ 621865 w 1715829"/>
                <a:gd name="connsiteY1" fmla="*/ 10515 h 1104479"/>
                <a:gd name="connsiteX2" fmla="*/ 1715829 w 1715829"/>
                <a:gd name="connsiteY2" fmla="*/ 1104479 h 1104479"/>
                <a:gd name="connsiteX0" fmla="*/ 0 w 1726345"/>
                <a:gd name="connsiteY0" fmla="*/ 0 h 1093964"/>
                <a:gd name="connsiteX1" fmla="*/ 632381 w 1726345"/>
                <a:gd name="connsiteY1" fmla="*/ 0 h 1093964"/>
                <a:gd name="connsiteX2" fmla="*/ 1726345 w 1726345"/>
                <a:gd name="connsiteY2" fmla="*/ 1093964 h 1093964"/>
              </a:gdLst>
              <a:ahLst/>
              <a:cxnLst>
                <a:cxn ang="0">
                  <a:pos x="connsiteX0" y="connsiteY0"/>
                </a:cxn>
                <a:cxn ang="0">
                  <a:pos x="connsiteX1" y="connsiteY1"/>
                </a:cxn>
                <a:cxn ang="0">
                  <a:pos x="connsiteX2" y="connsiteY2"/>
                </a:cxn>
              </a:cxnLst>
              <a:rect l="l" t="t" r="r" b="b"/>
              <a:pathLst>
                <a:path w="1726345" h="1093964">
                  <a:moveTo>
                    <a:pt x="0" y="0"/>
                  </a:moveTo>
                  <a:lnTo>
                    <a:pt x="632381" y="0"/>
                  </a:lnTo>
                  <a:lnTo>
                    <a:pt x="1726345" y="1093964"/>
                  </a:lnTo>
                </a:path>
              </a:pathLst>
            </a:custGeom>
            <a:noFill/>
            <a:ln w="19050">
              <a:solidFill>
                <a:schemeClr val="accent3"/>
              </a:solidFill>
              <a:prstDash val="solid"/>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lvl="0" indent="0" algn="l" defTabSz="913943" eaLnBrk="1" fontAlgn="base" latinLnBrk="0" hangingPunct="1">
                <a:lnSpc>
                  <a:spcPct val="100000"/>
                </a:lnSpc>
                <a:spcBef>
                  <a:spcPct val="50000"/>
                </a:spcBef>
                <a:spcAft>
                  <a:spcPct val="0"/>
                </a:spcAft>
                <a:buClrTx/>
                <a:buSzTx/>
                <a:buFontTx/>
                <a:buNone/>
                <a:tabLst/>
                <a:defRPr/>
              </a:pPr>
              <a:endParaRPr kumimoji="0" lang="en-US" sz="2399" b="0" i="0" u="none" strike="noStrike" kern="1200" cap="none" spc="0" normalizeH="0" baseline="0" noProof="0">
                <a:ln>
                  <a:noFill/>
                </a:ln>
                <a:solidFill>
                  <a:srgbClr val="000000"/>
                </a:solidFill>
                <a:effectLst/>
                <a:uLnTx/>
                <a:uFillTx/>
                <a:latin typeface="Arial"/>
                <a:ea typeface="ヒラギノ角ゴ Pro W3" charset="0"/>
                <a:cs typeface="+mn-cs"/>
              </a:endParaRPr>
            </a:p>
          </p:txBody>
        </p:sp>
        <p:sp>
          <p:nvSpPr>
            <p:cNvPr id="88" name="Oval 87">
              <a:extLst>
                <a:ext uri="{FF2B5EF4-FFF2-40B4-BE49-F238E27FC236}">
                  <a16:creationId xmlns:a16="http://schemas.microsoft.com/office/drawing/2014/main" id="{5D39ECE8-444F-F846-ABFD-ECCA78FA6FBB}"/>
                </a:ext>
              </a:extLst>
            </p:cNvPr>
            <p:cNvSpPr/>
            <p:nvPr/>
          </p:nvSpPr>
          <p:spPr>
            <a:xfrm>
              <a:off x="3358893" y="1936391"/>
              <a:ext cx="701133" cy="697781"/>
            </a:xfrm>
            <a:prstGeom prst="ellipse">
              <a:avLst/>
            </a:prstGeom>
            <a:blipFill>
              <a:blip r:embed="rId14">
                <a:extLst>
                  <a:ext uri="{BEBA8EAE-BF5A-486C-A8C5-ECC9F3942E4B}">
                    <a14:imgProps xmlns:a14="http://schemas.microsoft.com/office/drawing/2010/main">
                      <a14:imgLayer r:embed="rId15">
                        <a14:imgEffect>
                          <a14:colorTemperature colorTemp="2493"/>
                        </a14:imgEffect>
                        <a14:imgEffect>
                          <a14:brightnessContrast bright="77000" contrast="68000"/>
                        </a14:imgEffect>
                      </a14:imgLayer>
                    </a14:imgProps>
                  </a:ext>
                </a:extLst>
              </a:blip>
              <a:stretch>
                <a:fillRect l="-5225" t="-5225" r="-5225" b="-5225"/>
              </a:stretch>
            </a:blip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nchorCtr="0"/>
            <a:lstStyle/>
            <a:p>
              <a:pPr marL="0" marR="0" lvl="0" indent="0" algn="ctr" defTabSz="914400" eaLnBrk="1" fontAlgn="auto" latinLnBrk="0" hangingPunct="1">
                <a:lnSpc>
                  <a:spcPct val="110000"/>
                </a:lnSpc>
                <a:spcBef>
                  <a:spcPct val="0"/>
                </a:spcBef>
                <a:spcAft>
                  <a:spcPts val="0"/>
                </a:spcAft>
                <a:buClrTx/>
                <a:buSzTx/>
                <a:buFontTx/>
                <a:buNone/>
                <a:tabLst/>
                <a:defRPr/>
              </a:pPr>
              <a:endParaRPr kumimoji="0" lang="en-US" sz="1799" b="1" i="0" u="none" strike="noStrike" kern="1200" cap="none" spc="0" normalizeH="0" baseline="0" noProof="0">
                <a:ln>
                  <a:noFill/>
                </a:ln>
                <a:solidFill>
                  <a:srgbClr val="000028"/>
                </a:solidFill>
                <a:effectLst/>
                <a:uLnTx/>
                <a:uFillTx/>
                <a:latin typeface="Arial"/>
                <a:ea typeface="+mn-ea"/>
                <a:cs typeface="+mn-cs"/>
              </a:endParaRPr>
            </a:p>
          </p:txBody>
        </p:sp>
      </p:grpSp>
      <p:grpSp>
        <p:nvGrpSpPr>
          <p:cNvPr id="31" name="Gruppieren 30">
            <a:extLst>
              <a:ext uri="{FF2B5EF4-FFF2-40B4-BE49-F238E27FC236}">
                <a16:creationId xmlns:a16="http://schemas.microsoft.com/office/drawing/2014/main" id="{07D1AD0A-61F8-F14A-9EB0-A411BEA30399}"/>
              </a:ext>
            </a:extLst>
          </p:cNvPr>
          <p:cNvGrpSpPr/>
          <p:nvPr/>
        </p:nvGrpSpPr>
        <p:grpSpPr>
          <a:xfrm>
            <a:off x="3483740" y="4224749"/>
            <a:ext cx="1737533" cy="1052204"/>
            <a:chOff x="3483740" y="4224749"/>
            <a:chExt cx="1737533" cy="1052204"/>
          </a:xfrm>
        </p:grpSpPr>
        <p:sp>
          <p:nvSpPr>
            <p:cNvPr id="100" name="Freeform 99">
              <a:extLst>
                <a:ext uri="{FF2B5EF4-FFF2-40B4-BE49-F238E27FC236}">
                  <a16:creationId xmlns:a16="http://schemas.microsoft.com/office/drawing/2014/main" id="{5799BE6B-F6E3-DB4A-8A14-AD3372176FF1}"/>
                </a:ext>
              </a:extLst>
            </p:cNvPr>
            <p:cNvSpPr/>
            <p:nvPr/>
          </p:nvSpPr>
          <p:spPr bwMode="auto">
            <a:xfrm>
              <a:off x="3741770" y="4224749"/>
              <a:ext cx="1479503" cy="704703"/>
            </a:xfrm>
            <a:custGeom>
              <a:avLst/>
              <a:gdLst>
                <a:gd name="connsiteX0" fmla="*/ 2259623 w 2259623"/>
                <a:gd name="connsiteY0" fmla="*/ 0 h 1081454"/>
                <a:gd name="connsiteX1" fmla="*/ 1178169 w 2259623"/>
                <a:gd name="connsiteY1" fmla="*/ 1081454 h 1081454"/>
                <a:gd name="connsiteX2" fmla="*/ 0 w 2259623"/>
                <a:gd name="connsiteY2" fmla="*/ 1081454 h 1081454"/>
              </a:gdLst>
              <a:ahLst/>
              <a:cxnLst>
                <a:cxn ang="0">
                  <a:pos x="connsiteX0" y="connsiteY0"/>
                </a:cxn>
                <a:cxn ang="0">
                  <a:pos x="connsiteX1" y="connsiteY1"/>
                </a:cxn>
                <a:cxn ang="0">
                  <a:pos x="connsiteX2" y="connsiteY2"/>
                </a:cxn>
              </a:cxnLst>
              <a:rect l="l" t="t" r="r" b="b"/>
              <a:pathLst>
                <a:path w="2259623" h="1081454">
                  <a:moveTo>
                    <a:pt x="2259623" y="0"/>
                  </a:moveTo>
                  <a:lnTo>
                    <a:pt x="1178169" y="1081454"/>
                  </a:lnTo>
                  <a:lnTo>
                    <a:pt x="0" y="1081454"/>
                  </a:lnTo>
                </a:path>
              </a:pathLst>
            </a:custGeom>
            <a:noFill/>
            <a:ln w="19050">
              <a:solidFill>
                <a:schemeClr val="accent3"/>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lvl="0" indent="0" algn="l" defTabSz="913943" eaLnBrk="1" fontAlgn="base" latinLnBrk="0" hangingPunct="1">
                <a:lnSpc>
                  <a:spcPct val="100000"/>
                </a:lnSpc>
                <a:spcBef>
                  <a:spcPct val="50000"/>
                </a:spcBef>
                <a:spcAft>
                  <a:spcPct val="0"/>
                </a:spcAft>
                <a:buClrTx/>
                <a:buSzTx/>
                <a:buFontTx/>
                <a:buNone/>
                <a:tabLst/>
                <a:defRPr/>
              </a:pPr>
              <a:endParaRPr kumimoji="0" lang="en-US" sz="2399" b="0" i="0" u="none" strike="noStrike" kern="1200" cap="none" spc="0" normalizeH="0" baseline="0" noProof="0">
                <a:ln>
                  <a:noFill/>
                </a:ln>
                <a:solidFill>
                  <a:srgbClr val="000000"/>
                </a:solidFill>
                <a:effectLst/>
                <a:uLnTx/>
                <a:uFillTx/>
                <a:latin typeface="Arial"/>
                <a:ea typeface="ヒラギノ角ゴ Pro W3" charset="0"/>
                <a:cs typeface="+mn-cs"/>
              </a:endParaRPr>
            </a:p>
          </p:txBody>
        </p:sp>
        <p:sp>
          <p:nvSpPr>
            <p:cNvPr id="90" name="Oval 89">
              <a:extLst>
                <a:ext uri="{FF2B5EF4-FFF2-40B4-BE49-F238E27FC236}">
                  <a16:creationId xmlns:a16="http://schemas.microsoft.com/office/drawing/2014/main" id="{27AD62EC-5866-1B40-9B77-3DD03286DD7E}"/>
                </a:ext>
              </a:extLst>
            </p:cNvPr>
            <p:cNvSpPr/>
            <p:nvPr/>
          </p:nvSpPr>
          <p:spPr>
            <a:xfrm>
              <a:off x="3483740" y="4579172"/>
              <a:ext cx="701133" cy="697781"/>
            </a:xfrm>
            <a:prstGeom prst="ellipse">
              <a:avLst/>
            </a:prstGeom>
            <a:blipFill>
              <a:blip r:embed="rId16">
                <a:extLst>
                  <a:ext uri="{BEBA8EAE-BF5A-486C-A8C5-ECC9F3942E4B}">
                    <a14:imgProps xmlns:a14="http://schemas.microsoft.com/office/drawing/2010/main">
                      <a14:imgLayer r:embed="rId17">
                        <a14:imgEffect>
                          <a14:brightnessContrast contrast="68000"/>
                        </a14:imgEffect>
                      </a14:imgLayer>
                    </a14:imgProps>
                  </a:ext>
                </a:extLst>
              </a:blip>
              <a:stretch>
                <a:fillRect/>
              </a:stretch>
            </a:blip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nchorCtr="0"/>
            <a:lstStyle/>
            <a:p>
              <a:pPr marL="0" marR="0" lvl="0" indent="0" algn="ctr" defTabSz="914400" eaLnBrk="1" fontAlgn="auto" latinLnBrk="0" hangingPunct="1">
                <a:lnSpc>
                  <a:spcPct val="110000"/>
                </a:lnSpc>
                <a:spcBef>
                  <a:spcPct val="0"/>
                </a:spcBef>
                <a:spcAft>
                  <a:spcPts val="0"/>
                </a:spcAft>
                <a:buClrTx/>
                <a:buSzTx/>
                <a:buFontTx/>
                <a:buNone/>
                <a:tabLst/>
                <a:defRPr/>
              </a:pPr>
              <a:endParaRPr kumimoji="0" lang="en-US" sz="1799" b="1" i="0" u="none" strike="noStrike" kern="1200" cap="none" spc="0" normalizeH="0" baseline="0" noProof="0">
                <a:ln>
                  <a:noFill/>
                </a:ln>
                <a:solidFill>
                  <a:srgbClr val="000028"/>
                </a:solidFill>
                <a:effectLst/>
                <a:uLnTx/>
                <a:uFillTx/>
                <a:latin typeface="Arial"/>
                <a:ea typeface="+mn-ea"/>
                <a:cs typeface="+mn-cs"/>
              </a:endParaRPr>
            </a:p>
          </p:txBody>
        </p:sp>
      </p:grpSp>
      <p:grpSp>
        <p:nvGrpSpPr>
          <p:cNvPr id="32" name="Gruppieren 31">
            <a:extLst>
              <a:ext uri="{FF2B5EF4-FFF2-40B4-BE49-F238E27FC236}">
                <a16:creationId xmlns:a16="http://schemas.microsoft.com/office/drawing/2014/main" id="{6E1F2960-C555-4640-ABEB-3998D269D3EB}"/>
              </a:ext>
            </a:extLst>
          </p:cNvPr>
          <p:cNvGrpSpPr/>
          <p:nvPr/>
        </p:nvGrpSpPr>
        <p:grpSpPr>
          <a:xfrm>
            <a:off x="2240406" y="4249501"/>
            <a:ext cx="3196555" cy="1851632"/>
            <a:chOff x="2240406" y="4249501"/>
            <a:chExt cx="3196555" cy="1851632"/>
          </a:xfrm>
        </p:grpSpPr>
        <p:sp>
          <p:nvSpPr>
            <p:cNvPr id="102" name="Freeform 101">
              <a:extLst>
                <a:ext uri="{FF2B5EF4-FFF2-40B4-BE49-F238E27FC236}">
                  <a16:creationId xmlns:a16="http://schemas.microsoft.com/office/drawing/2014/main" id="{5FAE60FF-2D77-8F48-AC43-65095D29B5C2}"/>
                </a:ext>
              </a:extLst>
            </p:cNvPr>
            <p:cNvSpPr/>
            <p:nvPr/>
          </p:nvSpPr>
          <p:spPr bwMode="auto">
            <a:xfrm>
              <a:off x="2504641" y="4249501"/>
              <a:ext cx="2932320" cy="1514723"/>
            </a:xfrm>
            <a:custGeom>
              <a:avLst/>
              <a:gdLst>
                <a:gd name="connsiteX0" fmla="*/ 0 w 1276004"/>
                <a:gd name="connsiteY0" fmla="*/ 411480 h 411480"/>
                <a:gd name="connsiteX1" fmla="*/ 864524 w 1276004"/>
                <a:gd name="connsiteY1" fmla="*/ 411480 h 411480"/>
                <a:gd name="connsiteX2" fmla="*/ 1276004 w 1276004"/>
                <a:gd name="connsiteY2" fmla="*/ 0 h 411480"/>
                <a:gd name="connsiteX0" fmla="*/ 0 w 797592"/>
                <a:gd name="connsiteY0" fmla="*/ 413985 h 413985"/>
                <a:gd name="connsiteX1" fmla="*/ 386112 w 797592"/>
                <a:gd name="connsiteY1" fmla="*/ 411480 h 413985"/>
                <a:gd name="connsiteX2" fmla="*/ 797592 w 797592"/>
                <a:gd name="connsiteY2" fmla="*/ 0 h 413985"/>
              </a:gdLst>
              <a:ahLst/>
              <a:cxnLst>
                <a:cxn ang="0">
                  <a:pos x="connsiteX0" y="connsiteY0"/>
                </a:cxn>
                <a:cxn ang="0">
                  <a:pos x="connsiteX1" y="connsiteY1"/>
                </a:cxn>
                <a:cxn ang="0">
                  <a:pos x="connsiteX2" y="connsiteY2"/>
                </a:cxn>
              </a:cxnLst>
              <a:rect l="l" t="t" r="r" b="b"/>
              <a:pathLst>
                <a:path w="797592" h="413985">
                  <a:moveTo>
                    <a:pt x="0" y="413985"/>
                  </a:moveTo>
                  <a:lnTo>
                    <a:pt x="386112" y="411480"/>
                  </a:lnTo>
                  <a:lnTo>
                    <a:pt x="797592" y="0"/>
                  </a:lnTo>
                </a:path>
              </a:pathLst>
            </a:custGeom>
            <a:noFill/>
            <a:ln w="19050">
              <a:solidFill>
                <a:schemeClr val="accent3"/>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lvl="0" indent="0" algn="l" defTabSz="913943" eaLnBrk="1" fontAlgn="base" latinLnBrk="0" hangingPunct="1">
                <a:lnSpc>
                  <a:spcPct val="100000"/>
                </a:lnSpc>
                <a:spcBef>
                  <a:spcPct val="50000"/>
                </a:spcBef>
                <a:spcAft>
                  <a:spcPct val="0"/>
                </a:spcAft>
                <a:buClrTx/>
                <a:buSzTx/>
                <a:buFontTx/>
                <a:buNone/>
                <a:tabLst/>
                <a:defRPr/>
              </a:pPr>
              <a:endParaRPr kumimoji="0" lang="en-US" sz="2399" b="0" i="0" u="none" strike="noStrike" kern="1200" cap="none" spc="0" normalizeH="0" baseline="0" noProof="0">
                <a:ln>
                  <a:noFill/>
                </a:ln>
                <a:solidFill>
                  <a:srgbClr val="000000"/>
                </a:solidFill>
                <a:effectLst/>
                <a:uLnTx/>
                <a:uFillTx/>
                <a:latin typeface="Arial"/>
                <a:ea typeface="ヒラギノ角ゴ Pro W3" charset="0"/>
                <a:cs typeface="+mn-cs"/>
              </a:endParaRPr>
            </a:p>
          </p:txBody>
        </p:sp>
        <p:sp>
          <p:nvSpPr>
            <p:cNvPr id="112" name="Oval 111">
              <a:extLst>
                <a:ext uri="{FF2B5EF4-FFF2-40B4-BE49-F238E27FC236}">
                  <a16:creationId xmlns:a16="http://schemas.microsoft.com/office/drawing/2014/main" id="{D66CBBE2-CC23-B444-8C4A-A6F3E2CD6073}"/>
                </a:ext>
              </a:extLst>
            </p:cNvPr>
            <p:cNvSpPr/>
            <p:nvPr/>
          </p:nvSpPr>
          <p:spPr>
            <a:xfrm>
              <a:off x="2240406" y="5403352"/>
              <a:ext cx="701133" cy="697781"/>
            </a:xfrm>
            <a:prstGeom prst="ellipse">
              <a:avLst/>
            </a:prstGeom>
            <a:blipFill>
              <a:blip r:embed="rId18">
                <a:extLst>
                  <a:ext uri="{BEBA8EAE-BF5A-486C-A8C5-ECC9F3942E4B}">
                    <a14:imgProps xmlns:a14="http://schemas.microsoft.com/office/drawing/2010/main">
                      <a14:imgLayer r:embed="rId19">
                        <a14:imgEffect>
                          <a14:brightnessContrast bright="31000" contrast="73000"/>
                        </a14:imgEffect>
                      </a14:imgLayer>
                    </a14:imgProps>
                  </a:ext>
                </a:extLst>
              </a:blip>
              <a:stretch>
                <a:fillRect/>
              </a:stretch>
            </a:blip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nchorCtr="0"/>
            <a:lstStyle/>
            <a:p>
              <a:pPr marL="0" marR="0" lvl="0" indent="0" algn="ctr" defTabSz="914400" eaLnBrk="1" fontAlgn="auto" latinLnBrk="0" hangingPunct="1">
                <a:lnSpc>
                  <a:spcPct val="110000"/>
                </a:lnSpc>
                <a:spcBef>
                  <a:spcPct val="0"/>
                </a:spcBef>
                <a:spcAft>
                  <a:spcPts val="0"/>
                </a:spcAft>
                <a:buClrTx/>
                <a:buSzTx/>
                <a:buFontTx/>
                <a:buNone/>
                <a:tabLst/>
                <a:defRPr/>
              </a:pPr>
              <a:endParaRPr kumimoji="0" lang="en-US" sz="1799" b="1" i="0" u="none" strike="noStrike" kern="1200" cap="none" spc="0" normalizeH="0" baseline="0" noProof="0">
                <a:ln>
                  <a:noFill/>
                </a:ln>
                <a:solidFill>
                  <a:srgbClr val="000028"/>
                </a:solidFill>
                <a:effectLst/>
                <a:uLnTx/>
                <a:uFillTx/>
                <a:latin typeface="Arial"/>
                <a:ea typeface="+mn-ea"/>
                <a:cs typeface="+mn-cs"/>
              </a:endParaRPr>
            </a:p>
          </p:txBody>
        </p:sp>
      </p:grpSp>
      <p:grpSp>
        <p:nvGrpSpPr>
          <p:cNvPr id="25" name="Gruppieren 24">
            <a:extLst>
              <a:ext uri="{FF2B5EF4-FFF2-40B4-BE49-F238E27FC236}">
                <a16:creationId xmlns:a16="http://schemas.microsoft.com/office/drawing/2014/main" id="{D5A6AEC7-6793-C648-A9BC-724381B1DE3B}"/>
              </a:ext>
            </a:extLst>
          </p:cNvPr>
          <p:cNvGrpSpPr/>
          <p:nvPr/>
        </p:nvGrpSpPr>
        <p:grpSpPr>
          <a:xfrm>
            <a:off x="1159396" y="2815918"/>
            <a:ext cx="4115533" cy="1059250"/>
            <a:chOff x="1159396" y="2815918"/>
            <a:chExt cx="4115533" cy="1059250"/>
          </a:xfrm>
        </p:grpSpPr>
        <p:sp>
          <p:nvSpPr>
            <p:cNvPr id="95" name="Freeform 94">
              <a:extLst>
                <a:ext uri="{FF2B5EF4-FFF2-40B4-BE49-F238E27FC236}">
                  <a16:creationId xmlns:a16="http://schemas.microsoft.com/office/drawing/2014/main" id="{6FF7DB83-5F85-F04E-8DB2-ED696764F1C7}"/>
                </a:ext>
              </a:extLst>
            </p:cNvPr>
            <p:cNvSpPr/>
            <p:nvPr/>
          </p:nvSpPr>
          <p:spPr bwMode="auto">
            <a:xfrm>
              <a:off x="1689942" y="3151641"/>
              <a:ext cx="3584987" cy="723527"/>
            </a:xfrm>
            <a:custGeom>
              <a:avLst/>
              <a:gdLst>
                <a:gd name="connsiteX0" fmla="*/ 0 w 2568634"/>
                <a:gd name="connsiteY0" fmla="*/ 0 h 698269"/>
                <a:gd name="connsiteX1" fmla="*/ 822960 w 2568634"/>
                <a:gd name="connsiteY1" fmla="*/ 0 h 698269"/>
                <a:gd name="connsiteX2" fmla="*/ 1138843 w 2568634"/>
                <a:gd name="connsiteY2" fmla="*/ 315883 h 698269"/>
                <a:gd name="connsiteX3" fmla="*/ 2186248 w 2568634"/>
                <a:gd name="connsiteY3" fmla="*/ 315883 h 698269"/>
                <a:gd name="connsiteX4" fmla="*/ 2568634 w 2568634"/>
                <a:gd name="connsiteY4" fmla="*/ 698269 h 698269"/>
                <a:gd name="connsiteX0" fmla="*/ 0 w 3443295"/>
                <a:gd name="connsiteY0" fmla="*/ 20107 h 698269"/>
                <a:gd name="connsiteX1" fmla="*/ 1697621 w 3443295"/>
                <a:gd name="connsiteY1" fmla="*/ 0 h 698269"/>
                <a:gd name="connsiteX2" fmla="*/ 2013504 w 3443295"/>
                <a:gd name="connsiteY2" fmla="*/ 315883 h 698269"/>
                <a:gd name="connsiteX3" fmla="*/ 3060909 w 3443295"/>
                <a:gd name="connsiteY3" fmla="*/ 315883 h 698269"/>
                <a:gd name="connsiteX4" fmla="*/ 3443295 w 3443295"/>
                <a:gd name="connsiteY4" fmla="*/ 698269 h 698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3295" h="698269">
                  <a:moveTo>
                    <a:pt x="0" y="20107"/>
                  </a:moveTo>
                  <a:lnTo>
                    <a:pt x="1697621" y="0"/>
                  </a:lnTo>
                  <a:lnTo>
                    <a:pt x="2013504" y="315883"/>
                  </a:lnTo>
                  <a:lnTo>
                    <a:pt x="3060909" y="315883"/>
                  </a:lnTo>
                  <a:lnTo>
                    <a:pt x="3443295" y="698269"/>
                  </a:lnTo>
                </a:path>
              </a:pathLst>
            </a:custGeom>
            <a:noFill/>
            <a:ln w="19050">
              <a:solidFill>
                <a:schemeClr val="accent3"/>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lvl="0" indent="0" algn="l" defTabSz="913943" eaLnBrk="1" fontAlgn="base" latinLnBrk="0" hangingPunct="1">
                <a:lnSpc>
                  <a:spcPct val="100000"/>
                </a:lnSpc>
                <a:spcBef>
                  <a:spcPct val="50000"/>
                </a:spcBef>
                <a:spcAft>
                  <a:spcPct val="0"/>
                </a:spcAft>
                <a:buClrTx/>
                <a:buSzTx/>
                <a:buFontTx/>
                <a:buNone/>
                <a:tabLst/>
                <a:defRPr/>
              </a:pPr>
              <a:endParaRPr kumimoji="0" lang="en-US" sz="2399" b="0" i="0" u="none" strike="noStrike" kern="1200" cap="none" spc="0" normalizeH="0" baseline="0" noProof="0">
                <a:ln>
                  <a:noFill/>
                </a:ln>
                <a:solidFill>
                  <a:srgbClr val="000000"/>
                </a:solidFill>
                <a:effectLst/>
                <a:uLnTx/>
                <a:uFillTx/>
                <a:latin typeface="Arial"/>
                <a:ea typeface="ヒラギノ角ゴ Pro W3" charset="0"/>
                <a:cs typeface="+mn-cs"/>
              </a:endParaRPr>
            </a:p>
          </p:txBody>
        </p:sp>
        <p:sp>
          <p:nvSpPr>
            <p:cNvPr id="127" name="Oval 126">
              <a:extLst>
                <a:ext uri="{FF2B5EF4-FFF2-40B4-BE49-F238E27FC236}">
                  <a16:creationId xmlns:a16="http://schemas.microsoft.com/office/drawing/2014/main" id="{1FB7ABDB-09B1-7A4D-AACA-F30CAE868D57}"/>
                </a:ext>
              </a:extLst>
            </p:cNvPr>
            <p:cNvSpPr/>
            <p:nvPr/>
          </p:nvSpPr>
          <p:spPr>
            <a:xfrm>
              <a:off x="1159396" y="2815918"/>
              <a:ext cx="701133" cy="697781"/>
            </a:xfrm>
            <a:prstGeom prst="ellipse">
              <a:avLst/>
            </a:prstGeom>
            <a:blipFill>
              <a:blip r:embed="rId20">
                <a:extLst>
                  <a:ext uri="{BEBA8EAE-BF5A-486C-A8C5-ECC9F3942E4B}">
                    <a14:imgProps xmlns:a14="http://schemas.microsoft.com/office/drawing/2010/main">
                      <a14:imgLayer r:embed="rId21">
                        <a14:imgEffect>
                          <a14:brightnessContrast contrast="62000"/>
                        </a14:imgEffect>
                      </a14:imgLayer>
                    </a14:imgProps>
                  </a:ext>
                </a:extLst>
              </a:blip>
              <a:stretch>
                <a:fillRect l="-2924" t="-2924" r="-2924" b="-2924"/>
              </a:stretch>
            </a:blip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nchorCtr="0"/>
            <a:lstStyle/>
            <a:p>
              <a:pPr marL="0" marR="0" lvl="0" indent="0" algn="ctr" defTabSz="914400" eaLnBrk="1" fontAlgn="auto" latinLnBrk="0" hangingPunct="1">
                <a:lnSpc>
                  <a:spcPct val="110000"/>
                </a:lnSpc>
                <a:spcBef>
                  <a:spcPct val="0"/>
                </a:spcBef>
                <a:spcAft>
                  <a:spcPts val="0"/>
                </a:spcAft>
                <a:buClrTx/>
                <a:buSzTx/>
                <a:buFontTx/>
                <a:buNone/>
                <a:tabLst/>
                <a:defRPr/>
              </a:pPr>
              <a:endParaRPr kumimoji="0" lang="en-US" sz="1799" b="1" i="0" u="none" strike="noStrike" kern="1200" cap="none" spc="0" normalizeH="0" baseline="0" noProof="0">
                <a:ln>
                  <a:noFill/>
                </a:ln>
                <a:solidFill>
                  <a:srgbClr val="000028"/>
                </a:solidFill>
                <a:effectLst/>
                <a:uLnTx/>
                <a:uFillTx/>
                <a:latin typeface="Arial"/>
                <a:ea typeface="+mn-ea"/>
                <a:cs typeface="+mn-cs"/>
              </a:endParaRPr>
            </a:p>
          </p:txBody>
        </p:sp>
      </p:grpSp>
      <p:sp>
        <p:nvSpPr>
          <p:cNvPr id="128" name="Textfeld 144">
            <a:extLst>
              <a:ext uri="{FF2B5EF4-FFF2-40B4-BE49-F238E27FC236}">
                <a16:creationId xmlns:a16="http://schemas.microsoft.com/office/drawing/2014/main" id="{2D83A281-1BEE-1845-AE11-DD73766C5D03}"/>
              </a:ext>
            </a:extLst>
          </p:cNvPr>
          <p:cNvSpPr txBox="1"/>
          <p:nvPr/>
        </p:nvSpPr>
        <p:spPr bwMode="gray">
          <a:xfrm flipH="1">
            <a:off x="303700" y="3394618"/>
            <a:ext cx="1232238" cy="441140"/>
          </a:xfrm>
          <a:prstGeom prst="rect">
            <a:avLst/>
          </a:prstGeom>
          <a:noFill/>
        </p:spPr>
        <p:txBody>
          <a:bodyPr wrap="square" lIns="107944" tIns="53972" rIns="107944" bIns="53972" rtlCol="0" anchor="ctr">
            <a:spAutoFit/>
          </a:bodyPr>
          <a:lstStyle/>
          <a:p>
            <a:pPr marL="0" marR="0" lvl="0" indent="0" algn="l" defTabSz="914400" eaLnBrk="1" fontAlgn="auto" latinLnBrk="0" hangingPunct="1">
              <a:lnSpc>
                <a:spcPct val="90000"/>
              </a:lnSpc>
              <a:spcBef>
                <a:spcPts val="0"/>
              </a:spcBef>
              <a:spcAft>
                <a:spcPts val="0"/>
              </a:spcAft>
              <a:buClrTx/>
              <a:buSzTx/>
              <a:buFontTx/>
              <a:buNone/>
              <a:tabLst/>
              <a:defRPr/>
            </a:pPr>
            <a:r>
              <a:rPr kumimoji="0" lang="en-US" sz="1199" b="1" i="0" u="none" strike="noStrike" kern="1200" cap="none" spc="0" normalizeH="0" baseline="0" noProof="0">
                <a:ln>
                  <a:noFill/>
                </a:ln>
                <a:solidFill>
                  <a:srgbClr val="00BEDC"/>
                </a:solidFill>
                <a:effectLst/>
                <a:uLnTx/>
                <a:uFillTx/>
                <a:latin typeface="Arial"/>
                <a:ea typeface="+mn-ea"/>
                <a:cs typeface="+mn-cs"/>
              </a:rPr>
              <a:t>Quality prediction</a:t>
            </a:r>
          </a:p>
        </p:txBody>
      </p:sp>
      <p:sp>
        <p:nvSpPr>
          <p:cNvPr id="165" name="Textfeld 164"/>
          <p:cNvSpPr txBox="1"/>
          <p:nvPr/>
        </p:nvSpPr>
        <p:spPr bwMode="gray">
          <a:xfrm flipH="1">
            <a:off x="1156314" y="5645928"/>
            <a:ext cx="1195737" cy="478074"/>
          </a:xfrm>
          <a:prstGeom prst="rect">
            <a:avLst/>
          </a:prstGeom>
          <a:noFill/>
        </p:spPr>
        <p:txBody>
          <a:bodyPr wrap="square" lIns="107944" tIns="53972" rIns="107944" bIns="53972"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tab pos="0" algn="l"/>
              </a:tabLst>
              <a:defRPr/>
            </a:pPr>
            <a:r>
              <a:rPr kumimoji="0" lang="en-US" sz="1199" b="1" i="0" u="none" strike="noStrike" kern="1200" cap="none" spc="0" normalizeH="0" baseline="0" noProof="0">
                <a:ln>
                  <a:noFill/>
                </a:ln>
                <a:solidFill>
                  <a:srgbClr val="00BEDC"/>
                </a:solidFill>
                <a:effectLst/>
                <a:uLnTx/>
                <a:uFillTx/>
                <a:latin typeface="Arial"/>
                <a:ea typeface="Arial Unicode MS"/>
                <a:cs typeface="+mn-cs"/>
              </a:rPr>
              <a:t>Autonomous</a:t>
            </a:r>
            <a:r>
              <a:rPr kumimoji="0" lang="en-US" sz="1199" b="1" i="0" u="none" strike="noStrike" kern="1200" cap="none" spc="0" normalizeH="0" noProof="0">
                <a:ln>
                  <a:noFill/>
                </a:ln>
                <a:solidFill>
                  <a:srgbClr val="00BEDC"/>
                </a:solidFill>
                <a:effectLst/>
                <a:uLnTx/>
                <a:uFillTx/>
                <a:latin typeface="Arial"/>
                <a:ea typeface="Arial Unicode MS"/>
                <a:cs typeface="+mn-cs"/>
              </a:rPr>
              <a:t> systems</a:t>
            </a:r>
            <a:endParaRPr kumimoji="0" lang="en-US" sz="1199" b="1" i="0" u="none" strike="noStrike" kern="1200" cap="none" spc="0" normalizeH="0" baseline="0" noProof="0">
              <a:ln>
                <a:noFill/>
              </a:ln>
              <a:solidFill>
                <a:srgbClr val="00BEDC"/>
              </a:solidFill>
              <a:effectLst/>
              <a:uLnTx/>
              <a:uFillTx/>
              <a:latin typeface="Arial"/>
              <a:ea typeface="Arial Unicode MS"/>
              <a:cs typeface="+mn-cs"/>
            </a:endParaRPr>
          </a:p>
        </p:txBody>
      </p:sp>
      <p:sp>
        <p:nvSpPr>
          <p:cNvPr id="169" name="Textfeld 168"/>
          <p:cNvSpPr txBox="1"/>
          <p:nvPr/>
        </p:nvSpPr>
        <p:spPr bwMode="gray">
          <a:xfrm flipH="1">
            <a:off x="742357" y="2051541"/>
            <a:ext cx="1702201" cy="478330"/>
          </a:xfrm>
          <a:prstGeom prst="rect">
            <a:avLst/>
          </a:prstGeom>
          <a:noFill/>
        </p:spPr>
        <p:txBody>
          <a:bodyPr wrap="square" lIns="107944" tIns="53972" rIns="107944" bIns="53972" rtlCol="0" anchor="ctr">
            <a:spAutoFit/>
          </a:bodyPr>
          <a:lstStyle/>
          <a:p>
            <a:pPr marL="0" marR="0" lvl="0" indent="0" algn="l" defTabSz="913486" eaLnBrk="1" fontAlgn="auto" latinLnBrk="0" hangingPunct="1">
              <a:lnSpc>
                <a:spcPct val="100000"/>
              </a:lnSpc>
              <a:spcBef>
                <a:spcPct val="0"/>
              </a:spcBef>
              <a:spcAft>
                <a:spcPts val="0"/>
              </a:spcAft>
              <a:buClr>
                <a:srgbClr val="879BAA"/>
              </a:buClr>
              <a:buSzTx/>
              <a:buFontTx/>
              <a:buNone/>
              <a:tabLst/>
              <a:defRPr/>
            </a:pPr>
            <a:r>
              <a:rPr lang="en-US" sz="1200" b="1" kern="0">
                <a:solidFill>
                  <a:srgbClr val="00BEDC"/>
                </a:solidFill>
                <a:latin typeface="Arial"/>
              </a:rPr>
              <a:t>Process optimization</a:t>
            </a:r>
            <a:endParaRPr kumimoji="0" lang="en-US" sz="1200" b="1" i="0" u="none" strike="noStrike" kern="0" cap="none" spc="0" normalizeH="0" baseline="0" noProof="0">
              <a:ln>
                <a:noFill/>
              </a:ln>
              <a:solidFill>
                <a:srgbClr val="00BEDC"/>
              </a:solidFill>
              <a:effectLst/>
              <a:uLnTx/>
              <a:uFillTx/>
              <a:latin typeface="Arial"/>
            </a:endParaRPr>
          </a:p>
        </p:txBody>
      </p:sp>
      <p:sp>
        <p:nvSpPr>
          <p:cNvPr id="209" name="Textfeld 208"/>
          <p:cNvSpPr txBox="1"/>
          <p:nvPr/>
        </p:nvSpPr>
        <p:spPr bwMode="gray">
          <a:xfrm>
            <a:off x="5154991" y="5907872"/>
            <a:ext cx="1608682" cy="293536"/>
          </a:xfrm>
          <a:prstGeom prst="rect">
            <a:avLst/>
          </a:prstGeom>
          <a:noFill/>
        </p:spPr>
        <p:txBody>
          <a:bodyPr wrap="square" lIns="107944" tIns="53972" rIns="107944" bIns="53972"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tab pos="0" algn="l"/>
              </a:tabLst>
              <a:defRPr/>
            </a:pPr>
            <a:r>
              <a:rPr kumimoji="0" lang="en-US" sz="1199" b="1" i="0" u="none" strike="noStrike" kern="1200" cap="none" spc="0" normalizeH="0" baseline="0" noProof="0">
                <a:ln>
                  <a:noFill/>
                </a:ln>
                <a:solidFill>
                  <a:prstClr val="white"/>
                </a:solidFill>
                <a:effectLst/>
                <a:uLnTx/>
                <a:uFillTx/>
                <a:latin typeface="Arial"/>
                <a:ea typeface="Arial Unicode MS"/>
                <a:cs typeface="+mn-cs"/>
              </a:rPr>
              <a:t>and many more</a:t>
            </a:r>
          </a:p>
        </p:txBody>
      </p:sp>
      <p:sp>
        <p:nvSpPr>
          <p:cNvPr id="126" name="Oval 125">
            <a:extLst>
              <a:ext uri="{FF2B5EF4-FFF2-40B4-BE49-F238E27FC236}">
                <a16:creationId xmlns:a16="http://schemas.microsoft.com/office/drawing/2014/main" id="{15FCC596-43F7-6E48-81FD-6A7288004598}"/>
              </a:ext>
            </a:extLst>
          </p:cNvPr>
          <p:cNvSpPr/>
          <p:nvPr/>
        </p:nvSpPr>
        <p:spPr>
          <a:xfrm>
            <a:off x="5572874" y="5645928"/>
            <a:ext cx="194610" cy="193679"/>
          </a:xfrm>
          <a:prstGeom prst="ellipse">
            <a:avLst/>
          </a:prstGeom>
          <a:solidFill>
            <a:schemeClr val="accent3"/>
          </a:solid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nchorCtr="0"/>
          <a:lstStyle/>
          <a:p>
            <a:pPr marL="0" marR="0" lvl="0" indent="0" algn="ctr" defTabSz="914400" eaLnBrk="1" fontAlgn="auto" latinLnBrk="0" hangingPunct="1">
              <a:lnSpc>
                <a:spcPct val="110000"/>
              </a:lnSpc>
              <a:spcBef>
                <a:spcPct val="0"/>
              </a:spcBef>
              <a:spcAft>
                <a:spcPts val="0"/>
              </a:spcAft>
              <a:buClrTx/>
              <a:buSzTx/>
              <a:buFontTx/>
              <a:buNone/>
              <a:tabLst/>
              <a:defRPr/>
            </a:pPr>
            <a:endParaRPr kumimoji="0" lang="en-US" sz="1799" b="1" i="0" u="none" strike="noStrike" kern="1200" cap="none" spc="0" normalizeH="0" baseline="0" noProof="0">
              <a:ln>
                <a:noFill/>
              </a:ln>
              <a:solidFill>
                <a:srgbClr val="000028"/>
              </a:solidFill>
              <a:effectLst/>
              <a:uLnTx/>
              <a:uFillTx/>
              <a:latin typeface="Arial"/>
              <a:ea typeface="+mn-ea"/>
              <a:cs typeface="+mn-cs"/>
            </a:endParaRPr>
          </a:p>
        </p:txBody>
      </p:sp>
      <p:sp>
        <p:nvSpPr>
          <p:cNvPr id="80" name="Oval 79">
            <a:extLst>
              <a:ext uri="{FF2B5EF4-FFF2-40B4-BE49-F238E27FC236}">
                <a16:creationId xmlns:a16="http://schemas.microsoft.com/office/drawing/2014/main" id="{B6926C17-5C92-034B-9508-1A48BEDDBD57}"/>
              </a:ext>
            </a:extLst>
          </p:cNvPr>
          <p:cNvSpPr/>
          <p:nvPr/>
        </p:nvSpPr>
        <p:spPr>
          <a:xfrm>
            <a:off x="5862843" y="5645928"/>
            <a:ext cx="194610" cy="193679"/>
          </a:xfrm>
          <a:prstGeom prst="ellipse">
            <a:avLst/>
          </a:prstGeom>
          <a:solidFill>
            <a:srgbClr val="00E6DC"/>
          </a:solid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nchorCtr="0"/>
          <a:lstStyle/>
          <a:p>
            <a:pPr marL="0" marR="0" lvl="0" indent="0" algn="ctr" defTabSz="914400" eaLnBrk="1" fontAlgn="auto" latinLnBrk="0" hangingPunct="1">
              <a:lnSpc>
                <a:spcPct val="110000"/>
              </a:lnSpc>
              <a:spcBef>
                <a:spcPct val="0"/>
              </a:spcBef>
              <a:spcAft>
                <a:spcPts val="0"/>
              </a:spcAft>
              <a:buClrTx/>
              <a:buSzTx/>
              <a:buFontTx/>
              <a:buNone/>
              <a:tabLst/>
              <a:defRPr/>
            </a:pPr>
            <a:endParaRPr kumimoji="0" lang="en-US" sz="1799" b="1" i="0" u="none" strike="noStrike" kern="1200" cap="none" spc="0" normalizeH="0" baseline="0" noProof="0">
              <a:ln>
                <a:noFill/>
              </a:ln>
              <a:solidFill>
                <a:srgbClr val="000028"/>
              </a:solidFill>
              <a:effectLst/>
              <a:uLnTx/>
              <a:uFillTx/>
              <a:latin typeface="Arial"/>
              <a:ea typeface="+mn-ea"/>
              <a:cs typeface="+mn-cs"/>
            </a:endParaRPr>
          </a:p>
        </p:txBody>
      </p:sp>
      <p:sp>
        <p:nvSpPr>
          <p:cNvPr id="81" name="Oval 80">
            <a:extLst>
              <a:ext uri="{FF2B5EF4-FFF2-40B4-BE49-F238E27FC236}">
                <a16:creationId xmlns:a16="http://schemas.microsoft.com/office/drawing/2014/main" id="{B0A293DB-6486-0145-82B9-F2297D5ED655}"/>
              </a:ext>
            </a:extLst>
          </p:cNvPr>
          <p:cNvSpPr/>
          <p:nvPr/>
        </p:nvSpPr>
        <p:spPr>
          <a:xfrm>
            <a:off x="6146153" y="5645928"/>
            <a:ext cx="194610" cy="193679"/>
          </a:xfrm>
          <a:prstGeom prst="ellipse">
            <a:avLst/>
          </a:prstGeom>
          <a:solidFill>
            <a:schemeClr val="accent2"/>
          </a:solid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nchorCtr="0"/>
          <a:lstStyle/>
          <a:p>
            <a:pPr marL="0" marR="0" lvl="0" indent="0" algn="ctr" defTabSz="914400" eaLnBrk="1" fontAlgn="auto" latinLnBrk="0" hangingPunct="1">
              <a:lnSpc>
                <a:spcPct val="110000"/>
              </a:lnSpc>
              <a:spcBef>
                <a:spcPct val="0"/>
              </a:spcBef>
              <a:spcAft>
                <a:spcPts val="0"/>
              </a:spcAft>
              <a:buClrTx/>
              <a:buSzTx/>
              <a:buFontTx/>
              <a:buNone/>
              <a:tabLst/>
              <a:defRPr/>
            </a:pPr>
            <a:endParaRPr kumimoji="0" lang="en-US" sz="1799" b="1" i="0" u="none" strike="noStrike" kern="1200" cap="none" spc="0" normalizeH="0" baseline="0" noProof="0">
              <a:ln>
                <a:noFill/>
              </a:ln>
              <a:solidFill>
                <a:srgbClr val="000028"/>
              </a:solidFill>
              <a:effectLst/>
              <a:uLnTx/>
              <a:uFillTx/>
              <a:latin typeface="Arial"/>
              <a:ea typeface="+mn-ea"/>
              <a:cs typeface="+mn-cs"/>
            </a:endParaRPr>
          </a:p>
        </p:txBody>
      </p:sp>
      <p:sp>
        <p:nvSpPr>
          <p:cNvPr id="69" name="Textfeld 68"/>
          <p:cNvSpPr txBox="1"/>
          <p:nvPr/>
        </p:nvSpPr>
        <p:spPr bwMode="gray">
          <a:xfrm>
            <a:off x="7689687" y="1773461"/>
            <a:ext cx="1118017" cy="293536"/>
          </a:xfrm>
          <a:prstGeom prst="rect">
            <a:avLst/>
          </a:prstGeom>
          <a:noFill/>
        </p:spPr>
        <p:txBody>
          <a:bodyPr wrap="square" lIns="107944" tIns="53972" rIns="107944" bIns="53972"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tab pos="0" algn="l"/>
              </a:tabLst>
              <a:defRPr/>
            </a:pPr>
            <a:r>
              <a:rPr lang="en-US" sz="1199" b="1">
                <a:solidFill>
                  <a:srgbClr val="00D7A0"/>
                </a:solidFill>
                <a:latin typeface="Arial"/>
              </a:rPr>
              <a:t>Aerospace</a:t>
            </a:r>
            <a:endParaRPr kumimoji="0" lang="en-US" sz="1199" b="1" i="0" u="none" strike="noStrike" kern="1200" cap="none" spc="0" normalizeH="0" baseline="0" noProof="0">
              <a:ln>
                <a:noFill/>
              </a:ln>
              <a:solidFill>
                <a:srgbClr val="00D7A0"/>
              </a:solidFill>
              <a:effectLst/>
              <a:uLnTx/>
              <a:uFillTx/>
              <a:latin typeface="Arial"/>
              <a:ea typeface="Arial Unicode MS"/>
            </a:endParaRPr>
          </a:p>
        </p:txBody>
      </p:sp>
      <p:sp>
        <p:nvSpPr>
          <p:cNvPr id="71" name="Textfeld 70"/>
          <p:cNvSpPr txBox="1"/>
          <p:nvPr/>
        </p:nvSpPr>
        <p:spPr bwMode="gray">
          <a:xfrm>
            <a:off x="9784206" y="1986776"/>
            <a:ext cx="1315203" cy="478074"/>
          </a:xfrm>
          <a:prstGeom prst="rect">
            <a:avLst/>
          </a:prstGeom>
          <a:noFill/>
        </p:spPr>
        <p:txBody>
          <a:bodyPr wrap="square" lIns="107944" tIns="53972" rIns="107944" bIns="53972"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tab pos="0" algn="l"/>
              </a:tabLst>
              <a:defRPr/>
            </a:pPr>
            <a:r>
              <a:rPr kumimoji="0" lang="en-US" sz="1199" b="1" i="0" u="none" strike="noStrike" kern="1200" cap="none" spc="0" normalizeH="0" baseline="0" noProof="0">
                <a:ln>
                  <a:noFill/>
                </a:ln>
                <a:solidFill>
                  <a:srgbClr val="00D7A0"/>
                </a:solidFill>
                <a:effectLst/>
                <a:uLnTx/>
                <a:uFillTx/>
                <a:latin typeface="Arial"/>
                <a:cs typeface="+mn-cs"/>
              </a:rPr>
              <a:t>Mechanical</a:t>
            </a:r>
            <a:r>
              <a:rPr kumimoji="0" lang="en-US" sz="1199" b="1" i="0" u="none" strike="noStrike" kern="1200" cap="none" spc="0" normalizeH="0" noProof="0">
                <a:ln>
                  <a:noFill/>
                </a:ln>
                <a:solidFill>
                  <a:srgbClr val="00D7A0"/>
                </a:solidFill>
                <a:effectLst/>
                <a:uLnTx/>
                <a:uFillTx/>
                <a:latin typeface="Arial"/>
                <a:cs typeface="+mn-cs"/>
              </a:rPr>
              <a:t> engineering</a:t>
            </a:r>
            <a:endParaRPr kumimoji="0" lang="en-US" sz="1199" b="1" i="0" u="none" strike="noStrike" kern="1200" cap="none" spc="0" normalizeH="0" baseline="0" noProof="0">
              <a:ln>
                <a:noFill/>
              </a:ln>
              <a:solidFill>
                <a:srgbClr val="00D7A0"/>
              </a:solidFill>
              <a:effectLst/>
              <a:uLnTx/>
              <a:uFillTx/>
              <a:latin typeface="Arial"/>
              <a:ea typeface="Arial Unicode MS"/>
              <a:cs typeface="+mn-cs"/>
            </a:endParaRPr>
          </a:p>
        </p:txBody>
      </p:sp>
      <p:sp>
        <p:nvSpPr>
          <p:cNvPr id="74" name="Textfeld 73"/>
          <p:cNvSpPr txBox="1"/>
          <p:nvPr/>
        </p:nvSpPr>
        <p:spPr bwMode="gray">
          <a:xfrm>
            <a:off x="8036865" y="4780148"/>
            <a:ext cx="936056" cy="293536"/>
          </a:xfrm>
          <a:prstGeom prst="rect">
            <a:avLst/>
          </a:prstGeom>
          <a:noFill/>
        </p:spPr>
        <p:txBody>
          <a:bodyPr wrap="square" lIns="107944" tIns="53972" rIns="107944" bIns="53972"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tab pos="0" algn="l"/>
              </a:tabLst>
              <a:defRPr/>
            </a:pPr>
            <a:r>
              <a:rPr kumimoji="0" lang="en-US" sz="1199" b="1" i="0" u="none" strike="noStrike" kern="1200" cap="none" spc="0" normalizeH="0" baseline="0" noProof="0">
                <a:ln>
                  <a:noFill/>
                </a:ln>
                <a:solidFill>
                  <a:srgbClr val="00D7A0"/>
                </a:solidFill>
                <a:effectLst/>
                <a:uLnTx/>
                <a:uFillTx/>
                <a:latin typeface="Arial"/>
                <a:cs typeface="+mn-cs"/>
              </a:rPr>
              <a:t>Robotics</a:t>
            </a:r>
            <a:endParaRPr kumimoji="0" lang="en-US" sz="1199" b="1" i="0" u="none" strike="noStrike" kern="1200" cap="none" spc="0" normalizeH="0" baseline="0" noProof="0">
              <a:ln>
                <a:noFill/>
              </a:ln>
              <a:solidFill>
                <a:srgbClr val="00D7A0"/>
              </a:solidFill>
              <a:effectLst/>
              <a:uLnTx/>
              <a:uFillTx/>
              <a:latin typeface="Arial"/>
              <a:ea typeface="Arial Unicode MS"/>
              <a:cs typeface="+mn-cs"/>
            </a:endParaRPr>
          </a:p>
        </p:txBody>
      </p:sp>
      <p:sp>
        <p:nvSpPr>
          <p:cNvPr id="75" name="Textfeld 74"/>
          <p:cNvSpPr txBox="1"/>
          <p:nvPr/>
        </p:nvSpPr>
        <p:spPr bwMode="gray">
          <a:xfrm>
            <a:off x="10061523" y="5053856"/>
            <a:ext cx="1316781" cy="478074"/>
          </a:xfrm>
          <a:prstGeom prst="rect">
            <a:avLst/>
          </a:prstGeom>
          <a:noFill/>
        </p:spPr>
        <p:txBody>
          <a:bodyPr wrap="square" lIns="107944" tIns="53972" rIns="107944" bIns="53972"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tab pos="0" algn="l"/>
              </a:tabLst>
              <a:defRPr/>
            </a:pPr>
            <a:r>
              <a:rPr lang="en-US" sz="1199" b="1">
                <a:solidFill>
                  <a:srgbClr val="00D7A0"/>
                </a:solidFill>
                <a:latin typeface="Arial"/>
              </a:rPr>
              <a:t>Food and beverage</a:t>
            </a:r>
            <a:endParaRPr kumimoji="0" lang="en-US" sz="1199" b="1" i="0" u="none" strike="noStrike" kern="1200" cap="none" spc="0" normalizeH="0" baseline="0" noProof="0">
              <a:ln>
                <a:noFill/>
              </a:ln>
              <a:solidFill>
                <a:srgbClr val="00D7A0"/>
              </a:solidFill>
              <a:effectLst/>
              <a:uLnTx/>
              <a:uFillTx/>
              <a:latin typeface="Arial"/>
              <a:ea typeface="Arial Unicode MS"/>
            </a:endParaRPr>
          </a:p>
        </p:txBody>
      </p:sp>
      <p:sp>
        <p:nvSpPr>
          <p:cNvPr id="119" name="Textfeld 118"/>
          <p:cNvSpPr txBox="1"/>
          <p:nvPr/>
        </p:nvSpPr>
        <p:spPr bwMode="gray">
          <a:xfrm>
            <a:off x="10654987" y="4064681"/>
            <a:ext cx="1114050" cy="293536"/>
          </a:xfrm>
          <a:prstGeom prst="rect">
            <a:avLst/>
          </a:prstGeom>
          <a:noFill/>
        </p:spPr>
        <p:txBody>
          <a:bodyPr wrap="square" lIns="107944" tIns="53972" rIns="107944" bIns="53972"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a:ln>
                  <a:noFill/>
                </a:ln>
                <a:solidFill>
                  <a:srgbClr val="00D7A0"/>
                </a:solidFill>
                <a:effectLst/>
                <a:uLnTx/>
                <a:uFillTx/>
                <a:latin typeface="Arial"/>
                <a:cs typeface="+mn-cs"/>
              </a:rPr>
              <a:t>Automotive</a:t>
            </a:r>
            <a:endParaRPr kumimoji="0" lang="en-US" sz="1199" b="1" i="0" u="none" strike="noStrike" kern="1200" cap="none" spc="0" normalizeH="0" baseline="0" noProof="0">
              <a:ln>
                <a:noFill/>
              </a:ln>
              <a:solidFill>
                <a:srgbClr val="00D7A0"/>
              </a:solidFill>
              <a:effectLst/>
              <a:uLnTx/>
              <a:uFillTx/>
              <a:latin typeface="Arial"/>
              <a:ea typeface="Arial Unicode MS"/>
              <a:cs typeface="+mn-cs"/>
            </a:endParaRPr>
          </a:p>
        </p:txBody>
      </p:sp>
      <p:sp>
        <p:nvSpPr>
          <p:cNvPr id="121" name="Textfeld 120"/>
          <p:cNvSpPr txBox="1"/>
          <p:nvPr/>
        </p:nvSpPr>
        <p:spPr bwMode="gray">
          <a:xfrm>
            <a:off x="9886861" y="3630122"/>
            <a:ext cx="768126" cy="293536"/>
          </a:xfrm>
          <a:prstGeom prst="rect">
            <a:avLst/>
          </a:prstGeom>
          <a:noFill/>
        </p:spPr>
        <p:txBody>
          <a:bodyPr wrap="square" lIns="107944" tIns="53972" rIns="107944" bIns="53972"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tab pos="0" algn="l"/>
              </a:tabLst>
              <a:defRPr/>
            </a:pPr>
            <a:r>
              <a:rPr lang="en-US" sz="1199" b="1">
                <a:solidFill>
                  <a:srgbClr val="00D7A0"/>
                </a:solidFill>
                <a:latin typeface="Arial"/>
                <a:ea typeface="Arial Unicode MS"/>
              </a:rPr>
              <a:t>Tire</a:t>
            </a:r>
            <a:endParaRPr kumimoji="0" lang="en-US" sz="1199" b="1" i="0" u="none" strike="noStrike" kern="1200" cap="none" spc="0" normalizeH="0" baseline="0">
              <a:ln>
                <a:noFill/>
              </a:ln>
              <a:solidFill>
                <a:srgbClr val="00D7A0"/>
              </a:solidFill>
              <a:effectLst/>
              <a:uLnTx/>
              <a:uFillTx/>
              <a:latin typeface="Arial"/>
              <a:ea typeface="Arial Unicode MS"/>
            </a:endParaRPr>
          </a:p>
        </p:txBody>
      </p:sp>
      <p:sp>
        <p:nvSpPr>
          <p:cNvPr id="228" name="Textfeld 227"/>
          <p:cNvSpPr txBox="1"/>
          <p:nvPr/>
        </p:nvSpPr>
        <p:spPr bwMode="gray">
          <a:xfrm>
            <a:off x="6391143" y="1501139"/>
            <a:ext cx="1046749" cy="293536"/>
          </a:xfrm>
          <a:prstGeom prst="rect">
            <a:avLst/>
          </a:prstGeom>
          <a:noFill/>
        </p:spPr>
        <p:txBody>
          <a:bodyPr wrap="none" lIns="107944" tIns="53972" rIns="107944" bIns="53972"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tab pos="0" algn="l"/>
              </a:tabLst>
              <a:defRPr/>
            </a:pPr>
            <a:r>
              <a:rPr kumimoji="0" lang="en-US" sz="1199" b="1" i="0" u="none" strike="noStrike" kern="1200" cap="none" spc="0" normalizeH="0" baseline="0" noProof="0">
                <a:ln>
                  <a:noFill/>
                </a:ln>
                <a:solidFill>
                  <a:srgbClr val="00D7A0"/>
                </a:solidFill>
                <a:effectLst/>
                <a:uLnTx/>
                <a:uFillTx/>
                <a:latin typeface="Arial"/>
                <a:cs typeface="+mn-cs"/>
              </a:rPr>
              <a:t>Electronics</a:t>
            </a:r>
            <a:endParaRPr kumimoji="0" lang="en-US" sz="1199" b="1" i="0" u="none" strike="noStrike" kern="1200" cap="none" spc="0" normalizeH="0" baseline="0" noProof="0">
              <a:ln>
                <a:noFill/>
              </a:ln>
              <a:solidFill>
                <a:srgbClr val="00D7A0"/>
              </a:solidFill>
              <a:effectLst/>
              <a:uLnTx/>
              <a:uFillTx/>
              <a:latin typeface="Arial"/>
              <a:ea typeface="Arial Unicode MS"/>
              <a:cs typeface="+mn-cs"/>
            </a:endParaRPr>
          </a:p>
        </p:txBody>
      </p:sp>
      <p:sp>
        <p:nvSpPr>
          <p:cNvPr id="132" name="Textfeld 206">
            <a:extLst>
              <a:ext uri="{FF2B5EF4-FFF2-40B4-BE49-F238E27FC236}">
                <a16:creationId xmlns:a16="http://schemas.microsoft.com/office/drawing/2014/main" id="{8D817A67-E528-B148-BA29-22CC4556BC87}"/>
              </a:ext>
            </a:extLst>
          </p:cNvPr>
          <p:cNvSpPr txBox="1"/>
          <p:nvPr/>
        </p:nvSpPr>
        <p:spPr bwMode="gray">
          <a:xfrm>
            <a:off x="10633164" y="2662956"/>
            <a:ext cx="1062815" cy="293536"/>
          </a:xfrm>
          <a:prstGeom prst="rect">
            <a:avLst/>
          </a:prstGeom>
          <a:noFill/>
        </p:spPr>
        <p:txBody>
          <a:bodyPr wrap="square" lIns="107944" tIns="53972" rIns="107944" bIns="53972" rtlCol="0" anchor="ctr">
            <a:spAutoFit/>
          </a:bodyPr>
          <a:lstStyle/>
          <a:p>
            <a:pPr marL="0" marR="0" lvl="0" indent="0" algn="l" defTabSz="914400" eaLnBrk="1" fontAlgn="auto" latinLnBrk="0" hangingPunct="1">
              <a:lnSpc>
                <a:spcPct val="100000"/>
              </a:lnSpc>
              <a:spcBef>
                <a:spcPts val="0"/>
              </a:spcBef>
              <a:spcAft>
                <a:spcPts val="0"/>
              </a:spcAft>
              <a:buClrTx/>
              <a:buSzTx/>
              <a:buFontTx/>
              <a:buNone/>
              <a:tabLst>
                <a:tab pos="0" algn="l"/>
              </a:tabLst>
              <a:defRPr/>
            </a:pPr>
            <a:r>
              <a:rPr kumimoji="0" lang="en-US" sz="1199" b="1" i="0" u="none" strike="noStrike" kern="1200" cap="none" spc="0" normalizeH="0" baseline="0" noProof="0">
                <a:ln>
                  <a:noFill/>
                </a:ln>
                <a:solidFill>
                  <a:srgbClr val="00D7A0"/>
                </a:solidFill>
                <a:effectLst/>
                <a:uLnTx/>
                <a:uFillTx/>
                <a:latin typeface="Arial"/>
                <a:cs typeface="+mn-cs"/>
              </a:rPr>
              <a:t>Battery</a:t>
            </a:r>
            <a:endParaRPr kumimoji="0" lang="en-US" sz="1199" b="1" i="0" u="none" strike="noStrike" kern="1200" cap="none" spc="0" normalizeH="0" baseline="0" noProof="0">
              <a:ln>
                <a:noFill/>
              </a:ln>
              <a:solidFill>
                <a:srgbClr val="00D7A0"/>
              </a:solidFill>
              <a:effectLst/>
              <a:uLnTx/>
              <a:uFillTx/>
              <a:latin typeface="Arial"/>
              <a:ea typeface="Arial Unicode MS"/>
              <a:cs typeface="+mn-cs"/>
            </a:endParaRPr>
          </a:p>
        </p:txBody>
      </p:sp>
      <p:sp>
        <p:nvSpPr>
          <p:cNvPr id="125" name="Textfeld 139"/>
          <p:cNvSpPr txBox="1"/>
          <p:nvPr/>
        </p:nvSpPr>
        <p:spPr bwMode="gray">
          <a:xfrm flipH="1">
            <a:off x="8368977" y="5649290"/>
            <a:ext cx="1316781" cy="478074"/>
          </a:xfrm>
          <a:prstGeom prst="rect">
            <a:avLst/>
          </a:prstGeom>
          <a:noFill/>
          <a:ln w="22225">
            <a:noFill/>
          </a:ln>
        </p:spPr>
        <p:txBody>
          <a:bodyPr wrap="square" lIns="107944" tIns="53972" rIns="107944" bIns="53972" rtlCol="0" anchor="ctr">
            <a:spAutoFit/>
          </a:bodyPr>
          <a:lstStyle/>
          <a:p>
            <a:pPr>
              <a:tabLst>
                <a:tab pos="0" algn="l"/>
              </a:tabLst>
              <a:defRPr/>
            </a:pPr>
            <a:r>
              <a:rPr lang="en-US" sz="1199" b="1">
                <a:solidFill>
                  <a:srgbClr val="00D7A0"/>
                </a:solidFill>
                <a:ea typeface="Arial Unicode MS"/>
              </a:rPr>
              <a:t>Additive manufacturing</a:t>
            </a:r>
          </a:p>
        </p:txBody>
      </p:sp>
      <p:grpSp>
        <p:nvGrpSpPr>
          <p:cNvPr id="36" name="Gruppieren 35">
            <a:extLst>
              <a:ext uri="{FF2B5EF4-FFF2-40B4-BE49-F238E27FC236}">
                <a16:creationId xmlns:a16="http://schemas.microsoft.com/office/drawing/2014/main" id="{556EFD6B-EB23-4A47-9E81-7CAC3700EBB5}"/>
              </a:ext>
            </a:extLst>
          </p:cNvPr>
          <p:cNvGrpSpPr/>
          <p:nvPr/>
        </p:nvGrpSpPr>
        <p:grpSpPr>
          <a:xfrm>
            <a:off x="5802045" y="3002406"/>
            <a:ext cx="5092577" cy="669579"/>
            <a:chOff x="5802045" y="3002406"/>
            <a:chExt cx="5092577" cy="669579"/>
          </a:xfrm>
        </p:grpSpPr>
        <p:sp>
          <p:nvSpPr>
            <p:cNvPr id="113" name="Freeform 112">
              <a:extLst>
                <a:ext uri="{FF2B5EF4-FFF2-40B4-BE49-F238E27FC236}">
                  <a16:creationId xmlns:a16="http://schemas.microsoft.com/office/drawing/2014/main" id="{65BF948E-DE2E-6549-8F51-95F7E068E6FD}"/>
                </a:ext>
              </a:extLst>
            </p:cNvPr>
            <p:cNvSpPr/>
            <p:nvPr/>
          </p:nvSpPr>
          <p:spPr bwMode="auto">
            <a:xfrm>
              <a:off x="5802045" y="3157151"/>
              <a:ext cx="4376148" cy="514834"/>
            </a:xfrm>
            <a:custGeom>
              <a:avLst/>
              <a:gdLst>
                <a:gd name="connsiteX0" fmla="*/ 3115733 w 3115733"/>
                <a:gd name="connsiteY0" fmla="*/ 0 h 406400"/>
                <a:gd name="connsiteX1" fmla="*/ 2370667 w 3115733"/>
                <a:gd name="connsiteY1" fmla="*/ 6773 h 406400"/>
                <a:gd name="connsiteX2" fmla="*/ 1971040 w 3115733"/>
                <a:gd name="connsiteY2" fmla="*/ 406400 h 406400"/>
                <a:gd name="connsiteX3" fmla="*/ 0 w 3115733"/>
                <a:gd name="connsiteY3" fmla="*/ 406400 h 406400"/>
                <a:gd name="connsiteX0" fmla="*/ 3365911 w 3365911"/>
                <a:gd name="connsiteY0" fmla="*/ 0 h 406400"/>
                <a:gd name="connsiteX1" fmla="*/ 2370667 w 3365911"/>
                <a:gd name="connsiteY1" fmla="*/ 6773 h 406400"/>
                <a:gd name="connsiteX2" fmla="*/ 1971040 w 3365911"/>
                <a:gd name="connsiteY2" fmla="*/ 406400 h 406400"/>
                <a:gd name="connsiteX3" fmla="*/ 0 w 3365911"/>
                <a:gd name="connsiteY3" fmla="*/ 406400 h 406400"/>
                <a:gd name="connsiteX0" fmla="*/ 3380627 w 3380627"/>
                <a:gd name="connsiteY0" fmla="*/ 621 h 399627"/>
                <a:gd name="connsiteX1" fmla="*/ 2370667 w 3380627"/>
                <a:gd name="connsiteY1" fmla="*/ 0 h 399627"/>
                <a:gd name="connsiteX2" fmla="*/ 1971040 w 3380627"/>
                <a:gd name="connsiteY2" fmla="*/ 399627 h 399627"/>
                <a:gd name="connsiteX3" fmla="*/ 0 w 3380627"/>
                <a:gd name="connsiteY3" fmla="*/ 399627 h 399627"/>
              </a:gdLst>
              <a:ahLst/>
              <a:cxnLst>
                <a:cxn ang="0">
                  <a:pos x="connsiteX0" y="connsiteY0"/>
                </a:cxn>
                <a:cxn ang="0">
                  <a:pos x="connsiteX1" y="connsiteY1"/>
                </a:cxn>
                <a:cxn ang="0">
                  <a:pos x="connsiteX2" y="connsiteY2"/>
                </a:cxn>
                <a:cxn ang="0">
                  <a:pos x="connsiteX3" y="connsiteY3"/>
                </a:cxn>
              </a:cxnLst>
              <a:rect l="l" t="t" r="r" b="b"/>
              <a:pathLst>
                <a:path w="3380627" h="399627">
                  <a:moveTo>
                    <a:pt x="3380627" y="621"/>
                  </a:moveTo>
                  <a:lnTo>
                    <a:pt x="2370667" y="0"/>
                  </a:lnTo>
                  <a:lnTo>
                    <a:pt x="1971040" y="399627"/>
                  </a:lnTo>
                  <a:lnTo>
                    <a:pt x="0" y="399627"/>
                  </a:lnTo>
                </a:path>
              </a:pathLst>
            </a:custGeom>
            <a:noFill/>
            <a:ln w="19050">
              <a:solidFill>
                <a:schemeClr val="accent2"/>
              </a:solidFill>
              <a:prstDash val="solid"/>
              <a:miter lim="800000"/>
              <a:headEnd/>
              <a:tailEnd/>
              <a:extLst>
                <a:ext uri="{C807C97D-BFC1-408E-A445-0C87EB9F89A2}">
                  <ask:lineSketchStyleProps xmlns:ask="http://schemas.microsoft.com/office/drawing/2018/sketchyshapes">
                    <ask:type>
                      <ask:lineSketchNone/>
                    </ask:type>
                  </ask:lineSketchStyleProps>
                </a:ext>
              </a:extLst>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lvl="0" indent="0" algn="l" defTabSz="913943" eaLnBrk="1" fontAlgn="base" latinLnBrk="0" hangingPunct="1">
                <a:lnSpc>
                  <a:spcPct val="100000"/>
                </a:lnSpc>
                <a:spcBef>
                  <a:spcPct val="50000"/>
                </a:spcBef>
                <a:spcAft>
                  <a:spcPct val="0"/>
                </a:spcAft>
                <a:buClrTx/>
                <a:buSzTx/>
                <a:buFontTx/>
                <a:buNone/>
                <a:tabLst/>
                <a:defRPr/>
              </a:pPr>
              <a:endParaRPr kumimoji="0" lang="en-US" sz="2399" b="0" i="0" u="none" strike="noStrike" kern="1200" cap="none" spc="0" normalizeH="0" baseline="0" noProof="0">
                <a:ln>
                  <a:noFill/>
                </a:ln>
                <a:solidFill>
                  <a:srgbClr val="000000"/>
                </a:solidFill>
                <a:effectLst/>
                <a:uLnTx/>
                <a:uFillTx/>
                <a:latin typeface="Arial"/>
                <a:ea typeface="ヒラギノ角ゴ Pro W3" charset="0"/>
                <a:cs typeface="+mn-cs"/>
              </a:endParaRPr>
            </a:p>
          </p:txBody>
        </p:sp>
        <p:pic>
          <p:nvPicPr>
            <p:cNvPr id="6" name="Grafik 5">
              <a:extLst>
                <a:ext uri="{FF2B5EF4-FFF2-40B4-BE49-F238E27FC236}">
                  <a16:creationId xmlns:a16="http://schemas.microsoft.com/office/drawing/2014/main" id="{BC42F258-C703-8C47-9BA5-B1591F0942D7}"/>
                </a:ext>
              </a:extLst>
            </p:cNvPr>
            <p:cNvPicPr>
              <a:picLocks noChangeAspect="1"/>
            </p:cNvPicPr>
            <p:nvPr/>
          </p:nvPicPr>
          <p:blipFill>
            <a:blip r:embed="rId22">
              <a:extLst>
                <a:ext uri="{96DAC541-7B7A-43D3-8B79-37D633B846F1}">
                  <asvg:svgBlip xmlns:asvg="http://schemas.microsoft.com/office/drawing/2016/SVG/main" r:embed="rId23"/>
                </a:ext>
              </a:extLst>
            </a:blip>
            <a:srcRect/>
            <a:stretch/>
          </p:blipFill>
          <p:spPr>
            <a:xfrm>
              <a:off x="10169784" y="3002406"/>
              <a:ext cx="724838" cy="323373"/>
            </a:xfrm>
            <a:prstGeom prst="rect">
              <a:avLst/>
            </a:prstGeom>
          </p:spPr>
        </p:pic>
      </p:grpSp>
      <p:grpSp>
        <p:nvGrpSpPr>
          <p:cNvPr id="35" name="Gruppieren 34">
            <a:extLst>
              <a:ext uri="{FF2B5EF4-FFF2-40B4-BE49-F238E27FC236}">
                <a16:creationId xmlns:a16="http://schemas.microsoft.com/office/drawing/2014/main" id="{C30C99FB-D9EC-4B48-AD4B-92BD5164D224}"/>
              </a:ext>
            </a:extLst>
          </p:cNvPr>
          <p:cNvGrpSpPr/>
          <p:nvPr/>
        </p:nvGrpSpPr>
        <p:grpSpPr>
          <a:xfrm>
            <a:off x="6523257" y="2200091"/>
            <a:ext cx="3200631" cy="1318924"/>
            <a:chOff x="6523257" y="2200091"/>
            <a:chExt cx="3200631" cy="1318924"/>
          </a:xfrm>
        </p:grpSpPr>
        <p:sp>
          <p:nvSpPr>
            <p:cNvPr id="108" name="Freeform 107">
              <a:extLst>
                <a:ext uri="{FF2B5EF4-FFF2-40B4-BE49-F238E27FC236}">
                  <a16:creationId xmlns:a16="http://schemas.microsoft.com/office/drawing/2014/main" id="{EFE7DB5A-A804-974C-B6B2-81FA65F77EBB}"/>
                </a:ext>
              </a:extLst>
            </p:cNvPr>
            <p:cNvSpPr/>
            <p:nvPr/>
          </p:nvSpPr>
          <p:spPr bwMode="auto">
            <a:xfrm>
              <a:off x="6523257" y="2457909"/>
              <a:ext cx="2535071" cy="1061106"/>
            </a:xfrm>
            <a:custGeom>
              <a:avLst/>
              <a:gdLst>
                <a:gd name="connsiteX0" fmla="*/ 0 w 2435225"/>
                <a:gd name="connsiteY0" fmla="*/ 873125 h 873125"/>
                <a:gd name="connsiteX1" fmla="*/ 873125 w 2435225"/>
                <a:gd name="connsiteY1" fmla="*/ 0 h 873125"/>
                <a:gd name="connsiteX2" fmla="*/ 908050 w 2435225"/>
                <a:gd name="connsiteY2" fmla="*/ 0 h 873125"/>
                <a:gd name="connsiteX3" fmla="*/ 2435225 w 2435225"/>
                <a:gd name="connsiteY3" fmla="*/ 0 h 873125"/>
                <a:gd name="connsiteX0" fmla="*/ 0 w 1298369"/>
                <a:gd name="connsiteY0" fmla="*/ 873125 h 873125"/>
                <a:gd name="connsiteX1" fmla="*/ 873125 w 1298369"/>
                <a:gd name="connsiteY1" fmla="*/ 0 h 873125"/>
                <a:gd name="connsiteX2" fmla="*/ 908050 w 1298369"/>
                <a:gd name="connsiteY2" fmla="*/ 0 h 873125"/>
                <a:gd name="connsiteX3" fmla="*/ 1298369 w 1298369"/>
                <a:gd name="connsiteY3" fmla="*/ 8703 h 873125"/>
                <a:gd name="connsiteX0" fmla="*/ 0 w 1298369"/>
                <a:gd name="connsiteY0" fmla="*/ 873125 h 873125"/>
                <a:gd name="connsiteX1" fmla="*/ 873125 w 1298369"/>
                <a:gd name="connsiteY1" fmla="*/ 0 h 873125"/>
                <a:gd name="connsiteX2" fmla="*/ 1298369 w 1298369"/>
                <a:gd name="connsiteY2" fmla="*/ 8703 h 873125"/>
                <a:gd name="connsiteX0" fmla="*/ 0 w 1298369"/>
                <a:gd name="connsiteY0" fmla="*/ 873125 h 873125"/>
                <a:gd name="connsiteX1" fmla="*/ 873125 w 1298369"/>
                <a:gd name="connsiteY1" fmla="*/ 0 h 873125"/>
                <a:gd name="connsiteX2" fmla="*/ 1298369 w 1298369"/>
                <a:gd name="connsiteY2" fmla="*/ 8703 h 873125"/>
                <a:gd name="connsiteX0" fmla="*/ 0 w 1298369"/>
                <a:gd name="connsiteY0" fmla="*/ 873125 h 873125"/>
                <a:gd name="connsiteX1" fmla="*/ 873125 w 1298369"/>
                <a:gd name="connsiteY1" fmla="*/ 0 h 873125"/>
                <a:gd name="connsiteX2" fmla="*/ 1298369 w 1298369"/>
                <a:gd name="connsiteY2" fmla="*/ 0 h 873125"/>
                <a:gd name="connsiteX0" fmla="*/ 0 w 2334971"/>
                <a:gd name="connsiteY0" fmla="*/ 914359 h 914359"/>
                <a:gd name="connsiteX1" fmla="*/ 1909727 w 2334971"/>
                <a:gd name="connsiteY1" fmla="*/ 0 h 914359"/>
                <a:gd name="connsiteX2" fmla="*/ 2334971 w 2334971"/>
                <a:gd name="connsiteY2" fmla="*/ 0 h 914359"/>
                <a:gd name="connsiteX0" fmla="*/ 0 w 2334971"/>
                <a:gd name="connsiteY0" fmla="*/ 914359 h 914359"/>
                <a:gd name="connsiteX1" fmla="*/ 962318 w 2334971"/>
                <a:gd name="connsiteY1" fmla="*/ 423373 h 914359"/>
                <a:gd name="connsiteX2" fmla="*/ 1909727 w 2334971"/>
                <a:gd name="connsiteY2" fmla="*/ 0 h 914359"/>
                <a:gd name="connsiteX3" fmla="*/ 2334971 w 2334971"/>
                <a:gd name="connsiteY3" fmla="*/ 0 h 914359"/>
                <a:gd name="connsiteX0" fmla="*/ 0 w 2334971"/>
                <a:gd name="connsiteY0" fmla="*/ 914359 h 914359"/>
                <a:gd name="connsiteX1" fmla="*/ 1042198 w 2334971"/>
                <a:gd name="connsiteY1" fmla="*/ 774621 h 914359"/>
                <a:gd name="connsiteX2" fmla="*/ 1909727 w 2334971"/>
                <a:gd name="connsiteY2" fmla="*/ 0 h 914359"/>
                <a:gd name="connsiteX3" fmla="*/ 2334971 w 2334971"/>
                <a:gd name="connsiteY3" fmla="*/ 0 h 914359"/>
                <a:gd name="connsiteX0" fmla="*/ 0 w 2334971"/>
                <a:gd name="connsiteY0" fmla="*/ 914359 h 914359"/>
                <a:gd name="connsiteX1" fmla="*/ 1042198 w 2334971"/>
                <a:gd name="connsiteY1" fmla="*/ 774621 h 914359"/>
                <a:gd name="connsiteX2" fmla="*/ 1909727 w 2334971"/>
                <a:gd name="connsiteY2" fmla="*/ 0 h 914359"/>
                <a:gd name="connsiteX3" fmla="*/ 2334971 w 2334971"/>
                <a:gd name="connsiteY3" fmla="*/ 0 h 914359"/>
                <a:gd name="connsiteX0" fmla="*/ 0 w 2334971"/>
                <a:gd name="connsiteY0" fmla="*/ 914359 h 914359"/>
                <a:gd name="connsiteX1" fmla="*/ 1042198 w 2334971"/>
                <a:gd name="connsiteY1" fmla="*/ 774621 h 914359"/>
                <a:gd name="connsiteX2" fmla="*/ 1909727 w 2334971"/>
                <a:gd name="connsiteY2" fmla="*/ 0 h 914359"/>
                <a:gd name="connsiteX3" fmla="*/ 2334971 w 2334971"/>
                <a:gd name="connsiteY3" fmla="*/ 0 h 914359"/>
                <a:gd name="connsiteX0" fmla="*/ 0 w 2334971"/>
                <a:gd name="connsiteY0" fmla="*/ 914359 h 914359"/>
                <a:gd name="connsiteX1" fmla="*/ 1042198 w 2334971"/>
                <a:gd name="connsiteY1" fmla="*/ 774621 h 914359"/>
                <a:gd name="connsiteX2" fmla="*/ 1909727 w 2334971"/>
                <a:gd name="connsiteY2" fmla="*/ 0 h 914359"/>
                <a:gd name="connsiteX3" fmla="*/ 2334971 w 2334971"/>
                <a:gd name="connsiteY3" fmla="*/ 0 h 914359"/>
                <a:gd name="connsiteX0" fmla="*/ 0 w 2334971"/>
                <a:gd name="connsiteY0" fmla="*/ 914359 h 914359"/>
                <a:gd name="connsiteX1" fmla="*/ 1042198 w 2334971"/>
                <a:gd name="connsiteY1" fmla="*/ 774621 h 914359"/>
                <a:gd name="connsiteX2" fmla="*/ 1909727 w 2334971"/>
                <a:gd name="connsiteY2" fmla="*/ 0 h 914359"/>
                <a:gd name="connsiteX3" fmla="*/ 2334971 w 2334971"/>
                <a:gd name="connsiteY3" fmla="*/ 0 h 914359"/>
                <a:gd name="connsiteX0" fmla="*/ 0 w 2334971"/>
                <a:gd name="connsiteY0" fmla="*/ 914359 h 914359"/>
                <a:gd name="connsiteX1" fmla="*/ 1001280 w 2334971"/>
                <a:gd name="connsiteY1" fmla="*/ 905193 h 914359"/>
                <a:gd name="connsiteX2" fmla="*/ 1909727 w 2334971"/>
                <a:gd name="connsiteY2" fmla="*/ 0 h 914359"/>
                <a:gd name="connsiteX3" fmla="*/ 2334971 w 2334971"/>
                <a:gd name="connsiteY3" fmla="*/ 0 h 914359"/>
                <a:gd name="connsiteX0" fmla="*/ 0 w 2334971"/>
                <a:gd name="connsiteY0" fmla="*/ 914359 h 914359"/>
                <a:gd name="connsiteX1" fmla="*/ 1001280 w 2334971"/>
                <a:gd name="connsiteY1" fmla="*/ 905193 h 914359"/>
                <a:gd name="connsiteX2" fmla="*/ 1909727 w 2334971"/>
                <a:gd name="connsiteY2" fmla="*/ 0 h 914359"/>
                <a:gd name="connsiteX3" fmla="*/ 2334971 w 2334971"/>
                <a:gd name="connsiteY3" fmla="*/ 0 h 914359"/>
                <a:gd name="connsiteX0" fmla="*/ 0 w 2334971"/>
                <a:gd name="connsiteY0" fmla="*/ 914359 h 914359"/>
                <a:gd name="connsiteX1" fmla="*/ 1311721 w 2334971"/>
                <a:gd name="connsiteY1" fmla="*/ 600596 h 914359"/>
                <a:gd name="connsiteX2" fmla="*/ 1909727 w 2334971"/>
                <a:gd name="connsiteY2" fmla="*/ 0 h 914359"/>
                <a:gd name="connsiteX3" fmla="*/ 2334971 w 2334971"/>
                <a:gd name="connsiteY3" fmla="*/ 0 h 914359"/>
                <a:gd name="connsiteX0" fmla="*/ 0 w 1561592"/>
                <a:gd name="connsiteY0" fmla="*/ 601529 h 601529"/>
                <a:gd name="connsiteX1" fmla="*/ 538342 w 1561592"/>
                <a:gd name="connsiteY1" fmla="*/ 600596 h 601529"/>
                <a:gd name="connsiteX2" fmla="*/ 1136348 w 1561592"/>
                <a:gd name="connsiteY2" fmla="*/ 0 h 601529"/>
                <a:gd name="connsiteX3" fmla="*/ 1561592 w 1561592"/>
                <a:gd name="connsiteY3" fmla="*/ 0 h 601529"/>
                <a:gd name="connsiteX0" fmla="*/ 0 w 1561592"/>
                <a:gd name="connsiteY0" fmla="*/ 601529 h 604366"/>
                <a:gd name="connsiteX1" fmla="*/ 47833 w 1561592"/>
                <a:gd name="connsiteY1" fmla="*/ 604366 h 604366"/>
                <a:gd name="connsiteX2" fmla="*/ 538342 w 1561592"/>
                <a:gd name="connsiteY2" fmla="*/ 600596 h 604366"/>
                <a:gd name="connsiteX3" fmla="*/ 1136348 w 1561592"/>
                <a:gd name="connsiteY3" fmla="*/ 0 h 604366"/>
                <a:gd name="connsiteX4" fmla="*/ 1561592 w 1561592"/>
                <a:gd name="connsiteY4" fmla="*/ 0 h 604366"/>
                <a:gd name="connsiteX0" fmla="*/ 0 w 1561592"/>
                <a:gd name="connsiteY0" fmla="*/ 601529 h 601529"/>
                <a:gd name="connsiteX1" fmla="*/ 105020 w 1561592"/>
                <a:gd name="connsiteY1" fmla="*/ 571437 h 601529"/>
                <a:gd name="connsiteX2" fmla="*/ 538342 w 1561592"/>
                <a:gd name="connsiteY2" fmla="*/ 600596 h 601529"/>
                <a:gd name="connsiteX3" fmla="*/ 1136348 w 1561592"/>
                <a:gd name="connsiteY3" fmla="*/ 0 h 601529"/>
                <a:gd name="connsiteX4" fmla="*/ 1561592 w 1561592"/>
                <a:gd name="connsiteY4" fmla="*/ 0 h 601529"/>
                <a:gd name="connsiteX0" fmla="*/ 0 w 2174304"/>
                <a:gd name="connsiteY0" fmla="*/ 917103 h 917103"/>
                <a:gd name="connsiteX1" fmla="*/ 717732 w 2174304"/>
                <a:gd name="connsiteY1" fmla="*/ 571437 h 917103"/>
                <a:gd name="connsiteX2" fmla="*/ 1151054 w 2174304"/>
                <a:gd name="connsiteY2" fmla="*/ 600596 h 917103"/>
                <a:gd name="connsiteX3" fmla="*/ 1749060 w 2174304"/>
                <a:gd name="connsiteY3" fmla="*/ 0 h 917103"/>
                <a:gd name="connsiteX4" fmla="*/ 2174304 w 2174304"/>
                <a:gd name="connsiteY4" fmla="*/ 0 h 917103"/>
                <a:gd name="connsiteX0" fmla="*/ 0 w 2174304"/>
                <a:gd name="connsiteY0" fmla="*/ 917103 h 917103"/>
                <a:gd name="connsiteX1" fmla="*/ 437246 w 2174304"/>
                <a:gd name="connsiteY1" fmla="*/ 615343 h 917103"/>
                <a:gd name="connsiteX2" fmla="*/ 1151054 w 2174304"/>
                <a:gd name="connsiteY2" fmla="*/ 600596 h 917103"/>
                <a:gd name="connsiteX3" fmla="*/ 1749060 w 2174304"/>
                <a:gd name="connsiteY3" fmla="*/ 0 h 917103"/>
                <a:gd name="connsiteX4" fmla="*/ 2174304 w 2174304"/>
                <a:gd name="connsiteY4" fmla="*/ 0 h 917103"/>
                <a:gd name="connsiteX0" fmla="*/ 0 w 2174304"/>
                <a:gd name="connsiteY0" fmla="*/ 917103 h 917103"/>
                <a:gd name="connsiteX1" fmla="*/ 410014 w 2174304"/>
                <a:gd name="connsiteY1" fmla="*/ 590646 h 917103"/>
                <a:gd name="connsiteX2" fmla="*/ 1151054 w 2174304"/>
                <a:gd name="connsiteY2" fmla="*/ 600596 h 917103"/>
                <a:gd name="connsiteX3" fmla="*/ 1749060 w 2174304"/>
                <a:gd name="connsiteY3" fmla="*/ 0 h 917103"/>
                <a:gd name="connsiteX4" fmla="*/ 2174304 w 2174304"/>
                <a:gd name="connsiteY4" fmla="*/ 0 h 917103"/>
                <a:gd name="connsiteX0" fmla="*/ 0 w 2174304"/>
                <a:gd name="connsiteY0" fmla="*/ 917103 h 917103"/>
                <a:gd name="connsiteX1" fmla="*/ 388229 w 2174304"/>
                <a:gd name="connsiteY1" fmla="*/ 593390 h 917103"/>
                <a:gd name="connsiteX2" fmla="*/ 1151054 w 2174304"/>
                <a:gd name="connsiteY2" fmla="*/ 600596 h 917103"/>
                <a:gd name="connsiteX3" fmla="*/ 1749060 w 2174304"/>
                <a:gd name="connsiteY3" fmla="*/ 0 h 917103"/>
                <a:gd name="connsiteX4" fmla="*/ 2174304 w 2174304"/>
                <a:gd name="connsiteY4" fmla="*/ 0 h 917103"/>
                <a:gd name="connsiteX0" fmla="*/ 0 w 2174304"/>
                <a:gd name="connsiteY0" fmla="*/ 917103 h 917103"/>
                <a:gd name="connsiteX1" fmla="*/ 382783 w 2174304"/>
                <a:gd name="connsiteY1" fmla="*/ 593390 h 917103"/>
                <a:gd name="connsiteX2" fmla="*/ 1151054 w 2174304"/>
                <a:gd name="connsiteY2" fmla="*/ 600596 h 917103"/>
                <a:gd name="connsiteX3" fmla="*/ 1749060 w 2174304"/>
                <a:gd name="connsiteY3" fmla="*/ 0 h 917103"/>
                <a:gd name="connsiteX4" fmla="*/ 2174304 w 2174304"/>
                <a:gd name="connsiteY4" fmla="*/ 0 h 917103"/>
                <a:gd name="connsiteX0" fmla="*/ 0 w 2174304"/>
                <a:gd name="connsiteY0" fmla="*/ 917103 h 917103"/>
                <a:gd name="connsiteX1" fmla="*/ 366444 w 2174304"/>
                <a:gd name="connsiteY1" fmla="*/ 598878 h 917103"/>
                <a:gd name="connsiteX2" fmla="*/ 1151054 w 2174304"/>
                <a:gd name="connsiteY2" fmla="*/ 600596 h 917103"/>
                <a:gd name="connsiteX3" fmla="*/ 1749060 w 2174304"/>
                <a:gd name="connsiteY3" fmla="*/ 0 h 917103"/>
                <a:gd name="connsiteX4" fmla="*/ 2174304 w 2174304"/>
                <a:gd name="connsiteY4" fmla="*/ 0 h 917103"/>
                <a:gd name="connsiteX0" fmla="*/ 0 w 2174304"/>
                <a:gd name="connsiteY0" fmla="*/ 917103 h 917103"/>
                <a:gd name="connsiteX1" fmla="*/ 341935 w 2174304"/>
                <a:gd name="connsiteY1" fmla="*/ 601623 h 917103"/>
                <a:gd name="connsiteX2" fmla="*/ 1151054 w 2174304"/>
                <a:gd name="connsiteY2" fmla="*/ 600596 h 917103"/>
                <a:gd name="connsiteX3" fmla="*/ 1749060 w 2174304"/>
                <a:gd name="connsiteY3" fmla="*/ 0 h 917103"/>
                <a:gd name="connsiteX4" fmla="*/ 2174304 w 2174304"/>
                <a:gd name="connsiteY4" fmla="*/ 0 h 917103"/>
                <a:gd name="connsiteX0" fmla="*/ 0 w 2174304"/>
                <a:gd name="connsiteY0" fmla="*/ 917103 h 917103"/>
                <a:gd name="connsiteX1" fmla="*/ 314703 w 2174304"/>
                <a:gd name="connsiteY1" fmla="*/ 601623 h 917103"/>
                <a:gd name="connsiteX2" fmla="*/ 1151054 w 2174304"/>
                <a:gd name="connsiteY2" fmla="*/ 600596 h 917103"/>
                <a:gd name="connsiteX3" fmla="*/ 1749060 w 2174304"/>
                <a:gd name="connsiteY3" fmla="*/ 0 h 917103"/>
                <a:gd name="connsiteX4" fmla="*/ 2174304 w 2174304"/>
                <a:gd name="connsiteY4" fmla="*/ 0 h 917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4304" h="917103">
                  <a:moveTo>
                    <a:pt x="0" y="917103"/>
                  </a:moveTo>
                  <a:lnTo>
                    <a:pt x="314703" y="601623"/>
                  </a:lnTo>
                  <a:lnTo>
                    <a:pt x="1151054" y="600596"/>
                  </a:lnTo>
                  <a:lnTo>
                    <a:pt x="1749060" y="0"/>
                  </a:lnTo>
                  <a:lnTo>
                    <a:pt x="2174304" y="0"/>
                  </a:lnTo>
                </a:path>
              </a:pathLst>
            </a:custGeom>
            <a:noFill/>
            <a:ln w="19050">
              <a:solidFill>
                <a:schemeClr val="accent2"/>
              </a:solidFill>
              <a:prstDash val="solid"/>
              <a:miter lim="800000"/>
              <a:headEnd/>
              <a:tailEnd/>
              <a:extLst>
                <a:ext uri="{C807C97D-BFC1-408E-A445-0C87EB9F89A2}">
                  <ask:lineSketchStyleProps xmlns:ask="http://schemas.microsoft.com/office/drawing/2018/sketchyshapes">
                    <ask:type>
                      <ask:lineSketchNone/>
                    </ask:type>
                  </ask:lineSketchStyleProps>
                </a:ext>
              </a:extLst>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lvl="0" indent="0" algn="l" defTabSz="913943" eaLnBrk="1" fontAlgn="base" latinLnBrk="0" hangingPunct="1">
                <a:lnSpc>
                  <a:spcPct val="100000"/>
                </a:lnSpc>
                <a:spcBef>
                  <a:spcPct val="50000"/>
                </a:spcBef>
                <a:spcAft>
                  <a:spcPct val="0"/>
                </a:spcAft>
                <a:buClrTx/>
                <a:buSzTx/>
                <a:buFontTx/>
                <a:buNone/>
                <a:tabLst/>
                <a:defRPr/>
              </a:pPr>
              <a:endParaRPr kumimoji="0" lang="en-US" sz="2399" b="0" i="0" u="none" strike="noStrike" kern="1200" cap="none" spc="0" normalizeH="0" baseline="0" noProof="0">
                <a:ln>
                  <a:noFill/>
                </a:ln>
                <a:solidFill>
                  <a:srgbClr val="00FFB9"/>
                </a:solidFill>
                <a:effectLst/>
                <a:uLnTx/>
                <a:uFillTx/>
                <a:latin typeface="Arial"/>
                <a:ea typeface="ヒラギノ角ゴ Pro W3" charset="0"/>
                <a:cs typeface="+mn-cs"/>
              </a:endParaRPr>
            </a:p>
          </p:txBody>
        </p:sp>
        <p:sp>
          <p:nvSpPr>
            <p:cNvPr id="14" name="Freihandform 13">
              <a:extLst>
                <a:ext uri="{FF2B5EF4-FFF2-40B4-BE49-F238E27FC236}">
                  <a16:creationId xmlns:a16="http://schemas.microsoft.com/office/drawing/2014/main" id="{3705663A-63A3-8841-B41C-7B58B2801345}"/>
                </a:ext>
              </a:extLst>
            </p:cNvPr>
            <p:cNvSpPr/>
            <p:nvPr/>
          </p:nvSpPr>
          <p:spPr>
            <a:xfrm>
              <a:off x="9059236" y="2200091"/>
              <a:ext cx="664652" cy="478545"/>
            </a:xfrm>
            <a:custGeom>
              <a:avLst/>
              <a:gdLst>
                <a:gd name="connsiteX0" fmla="*/ 1019263 w 2531533"/>
                <a:gd name="connsiteY0" fmla="*/ 574701 h 1831443"/>
                <a:gd name="connsiteX1" fmla="*/ 956568 w 2531533"/>
                <a:gd name="connsiteY1" fmla="*/ 637396 h 1831443"/>
                <a:gd name="connsiteX2" fmla="*/ 1032562 w 2531533"/>
                <a:gd name="connsiteY2" fmla="*/ 713389 h 1831443"/>
                <a:gd name="connsiteX3" fmla="*/ 1095256 w 2531533"/>
                <a:gd name="connsiteY3" fmla="*/ 650694 h 1831443"/>
                <a:gd name="connsiteX4" fmla="*/ 1131353 w 2531533"/>
                <a:gd name="connsiteY4" fmla="*/ 665893 h 1831443"/>
                <a:gd name="connsiteX5" fmla="*/ 1131353 w 2531533"/>
                <a:gd name="connsiteY5" fmla="*/ 754235 h 1831443"/>
                <a:gd name="connsiteX6" fmla="*/ 1238694 w 2531533"/>
                <a:gd name="connsiteY6" fmla="*/ 754235 h 1831443"/>
                <a:gd name="connsiteX7" fmla="*/ 1238694 w 2531533"/>
                <a:gd name="connsiteY7" fmla="*/ 665893 h 1831443"/>
                <a:gd name="connsiteX8" fmla="*/ 1274791 w 2531533"/>
                <a:gd name="connsiteY8" fmla="*/ 650694 h 1831443"/>
                <a:gd name="connsiteX9" fmla="*/ 1337486 w 2531533"/>
                <a:gd name="connsiteY9" fmla="*/ 713389 h 1831443"/>
                <a:gd name="connsiteX10" fmla="*/ 1413479 w 2531533"/>
                <a:gd name="connsiteY10" fmla="*/ 637396 h 1831443"/>
                <a:gd name="connsiteX11" fmla="*/ 1350784 w 2531533"/>
                <a:gd name="connsiteY11" fmla="*/ 574701 h 1831443"/>
                <a:gd name="connsiteX12" fmla="*/ 1365983 w 2531533"/>
                <a:gd name="connsiteY12" fmla="*/ 538604 h 1831443"/>
                <a:gd name="connsiteX13" fmla="*/ 1454326 w 2531533"/>
                <a:gd name="connsiteY13" fmla="*/ 538604 h 1831443"/>
                <a:gd name="connsiteX14" fmla="*/ 1454326 w 2531533"/>
                <a:gd name="connsiteY14" fmla="*/ 431263 h 1831443"/>
                <a:gd name="connsiteX15" fmla="*/ 1365983 w 2531533"/>
                <a:gd name="connsiteY15" fmla="*/ 431263 h 1831443"/>
                <a:gd name="connsiteX16" fmla="*/ 1350784 w 2531533"/>
                <a:gd name="connsiteY16" fmla="*/ 395166 h 1831443"/>
                <a:gd name="connsiteX17" fmla="*/ 1413479 w 2531533"/>
                <a:gd name="connsiteY17" fmla="*/ 332472 h 1831443"/>
                <a:gd name="connsiteX18" fmla="*/ 1337486 w 2531533"/>
                <a:gd name="connsiteY18" fmla="*/ 256478 h 1831443"/>
                <a:gd name="connsiteX19" fmla="*/ 1274791 w 2531533"/>
                <a:gd name="connsiteY19" fmla="*/ 319173 h 1831443"/>
                <a:gd name="connsiteX20" fmla="*/ 1238694 w 2531533"/>
                <a:gd name="connsiteY20" fmla="*/ 303974 h 1831443"/>
                <a:gd name="connsiteX21" fmla="*/ 1238694 w 2531533"/>
                <a:gd name="connsiteY21" fmla="*/ 215632 h 1831443"/>
                <a:gd name="connsiteX22" fmla="*/ 1131353 w 2531533"/>
                <a:gd name="connsiteY22" fmla="*/ 215632 h 1831443"/>
                <a:gd name="connsiteX23" fmla="*/ 1131353 w 2531533"/>
                <a:gd name="connsiteY23" fmla="*/ 303974 h 1831443"/>
                <a:gd name="connsiteX24" fmla="*/ 1095256 w 2531533"/>
                <a:gd name="connsiteY24" fmla="*/ 319173 h 1831443"/>
                <a:gd name="connsiteX25" fmla="*/ 1032562 w 2531533"/>
                <a:gd name="connsiteY25" fmla="*/ 256478 h 1831443"/>
                <a:gd name="connsiteX26" fmla="*/ 956568 w 2531533"/>
                <a:gd name="connsiteY26" fmla="*/ 332472 h 1831443"/>
                <a:gd name="connsiteX27" fmla="*/ 1019263 w 2531533"/>
                <a:gd name="connsiteY27" fmla="*/ 395166 h 1831443"/>
                <a:gd name="connsiteX28" fmla="*/ 1004064 w 2531533"/>
                <a:gd name="connsiteY28" fmla="*/ 431263 h 1831443"/>
                <a:gd name="connsiteX29" fmla="*/ 915722 w 2531533"/>
                <a:gd name="connsiteY29" fmla="*/ 431263 h 1831443"/>
                <a:gd name="connsiteX30" fmla="*/ 915722 w 2531533"/>
                <a:gd name="connsiteY30" fmla="*/ 538604 h 1831443"/>
                <a:gd name="connsiteX31" fmla="*/ 1004064 w 2531533"/>
                <a:gd name="connsiteY31" fmla="*/ 538604 h 1831443"/>
                <a:gd name="connsiteX32" fmla="*/ 1019263 w 2531533"/>
                <a:gd name="connsiteY32" fmla="*/ 574701 h 1831443"/>
                <a:gd name="connsiteX33" fmla="*/ 1183599 w 2531533"/>
                <a:gd name="connsiteY33" fmla="*/ 398016 h 1831443"/>
                <a:gd name="connsiteX34" fmla="*/ 1271941 w 2531533"/>
                <a:gd name="connsiteY34" fmla="*/ 484459 h 1831443"/>
                <a:gd name="connsiteX35" fmla="*/ 1185499 w 2531533"/>
                <a:gd name="connsiteY35" fmla="*/ 572801 h 1831443"/>
                <a:gd name="connsiteX36" fmla="*/ 1097156 w 2531533"/>
                <a:gd name="connsiteY36" fmla="*/ 486358 h 1831443"/>
                <a:gd name="connsiteX37" fmla="*/ 1183599 w 2531533"/>
                <a:gd name="connsiteY37" fmla="*/ 398016 h 1831443"/>
                <a:gd name="connsiteX38" fmla="*/ 1637660 w 2531533"/>
                <a:gd name="connsiteY38" fmla="*/ 937570 h 1831443"/>
                <a:gd name="connsiteX39" fmla="*/ 1637660 w 2531533"/>
                <a:gd name="connsiteY39" fmla="*/ 794132 h 1831443"/>
                <a:gd name="connsiteX40" fmla="*/ 1494222 w 2531533"/>
                <a:gd name="connsiteY40" fmla="*/ 650694 h 1831443"/>
                <a:gd name="connsiteX41" fmla="*/ 1552167 w 2531533"/>
                <a:gd name="connsiteY41" fmla="*/ 592749 h 1831443"/>
                <a:gd name="connsiteX42" fmla="*/ 1552167 w 2531533"/>
                <a:gd name="connsiteY42" fmla="*/ 592749 h 1831443"/>
                <a:gd name="connsiteX43" fmla="*/ 1667107 w 2531533"/>
                <a:gd name="connsiteY43" fmla="*/ 592749 h 1831443"/>
                <a:gd name="connsiteX44" fmla="*/ 1821944 w 2531533"/>
                <a:gd name="connsiteY44" fmla="*/ 747586 h 1831443"/>
                <a:gd name="connsiteX45" fmla="*/ 1821944 w 2531533"/>
                <a:gd name="connsiteY45" fmla="*/ 920471 h 1831443"/>
                <a:gd name="connsiteX46" fmla="*/ 2220910 w 2531533"/>
                <a:gd name="connsiteY46" fmla="*/ 1319437 h 1831443"/>
                <a:gd name="connsiteX47" fmla="*/ 2220910 w 2531533"/>
                <a:gd name="connsiteY47" fmla="*/ 1319437 h 1831443"/>
                <a:gd name="connsiteX48" fmla="*/ 2262707 w 2531533"/>
                <a:gd name="connsiteY48" fmla="*/ 1420129 h 1831443"/>
                <a:gd name="connsiteX49" fmla="*/ 2120219 w 2531533"/>
                <a:gd name="connsiteY49" fmla="*/ 1562616 h 1831443"/>
                <a:gd name="connsiteX50" fmla="*/ 2019527 w 2531533"/>
                <a:gd name="connsiteY50" fmla="*/ 1520820 h 1831443"/>
                <a:gd name="connsiteX51" fmla="*/ 2019527 w 2531533"/>
                <a:gd name="connsiteY51" fmla="*/ 1520820 h 1831443"/>
                <a:gd name="connsiteX52" fmla="*/ 1620561 w 2531533"/>
                <a:gd name="connsiteY52" fmla="*/ 1121854 h 1831443"/>
                <a:gd name="connsiteX53" fmla="*/ 1447676 w 2531533"/>
                <a:gd name="connsiteY53" fmla="*/ 1121854 h 1831443"/>
                <a:gd name="connsiteX54" fmla="*/ 1292839 w 2531533"/>
                <a:gd name="connsiteY54" fmla="*/ 967017 h 1831443"/>
                <a:gd name="connsiteX55" fmla="*/ 1292839 w 2531533"/>
                <a:gd name="connsiteY55" fmla="*/ 852077 h 1831443"/>
                <a:gd name="connsiteX56" fmla="*/ 1350784 w 2531533"/>
                <a:gd name="connsiteY56" fmla="*/ 794132 h 1831443"/>
                <a:gd name="connsiteX57" fmla="*/ 1494222 w 2531533"/>
                <a:gd name="connsiteY57" fmla="*/ 937570 h 1831443"/>
                <a:gd name="connsiteX58" fmla="*/ 1637660 w 2531533"/>
                <a:gd name="connsiteY58" fmla="*/ 937570 h 1831443"/>
                <a:gd name="connsiteX59" fmla="*/ 0 w 2531533"/>
                <a:gd name="connsiteY59" fmla="*/ 0 h 1831443"/>
                <a:gd name="connsiteX60" fmla="*/ 0 w 2531533"/>
                <a:gd name="connsiteY60" fmla="*/ 1831443 h 1831443"/>
                <a:gd name="connsiteX61" fmla="*/ 2531533 w 2531533"/>
                <a:gd name="connsiteY61" fmla="*/ 1831443 h 1831443"/>
                <a:gd name="connsiteX62" fmla="*/ 2531533 w 2531533"/>
                <a:gd name="connsiteY62" fmla="*/ 0 h 1831443"/>
                <a:gd name="connsiteX63" fmla="*/ 0 w 2531533"/>
                <a:gd name="connsiteY63" fmla="*/ 0 h 1831443"/>
                <a:gd name="connsiteX64" fmla="*/ 2423243 w 2531533"/>
                <a:gd name="connsiteY64" fmla="*/ 1724103 h 1831443"/>
                <a:gd name="connsiteX65" fmla="*/ 108291 w 2531533"/>
                <a:gd name="connsiteY65" fmla="*/ 1724103 h 1831443"/>
                <a:gd name="connsiteX66" fmla="*/ 108291 w 2531533"/>
                <a:gd name="connsiteY66" fmla="*/ 108291 h 1831443"/>
                <a:gd name="connsiteX67" fmla="*/ 2424193 w 2531533"/>
                <a:gd name="connsiteY67" fmla="*/ 108291 h 1831443"/>
                <a:gd name="connsiteX68" fmla="*/ 2424193 w 2531533"/>
                <a:gd name="connsiteY68" fmla="*/ 1724103 h 1831443"/>
                <a:gd name="connsiteX69" fmla="*/ 406565 w 2531533"/>
                <a:gd name="connsiteY69" fmla="*/ 1229195 h 1831443"/>
                <a:gd name="connsiteX70" fmla="*/ 315373 w 2531533"/>
                <a:gd name="connsiteY70" fmla="*/ 1295689 h 1831443"/>
                <a:gd name="connsiteX71" fmla="*/ 379018 w 2531533"/>
                <a:gd name="connsiteY71" fmla="*/ 1383082 h 1831443"/>
                <a:gd name="connsiteX72" fmla="*/ 470210 w 2531533"/>
                <a:gd name="connsiteY72" fmla="*/ 1316587 h 1831443"/>
                <a:gd name="connsiteX73" fmla="*/ 532904 w 2531533"/>
                <a:gd name="connsiteY73" fmla="*/ 1362183 h 1831443"/>
                <a:gd name="connsiteX74" fmla="*/ 497757 w 2531533"/>
                <a:gd name="connsiteY74" fmla="*/ 1469524 h 1831443"/>
                <a:gd name="connsiteX75" fmla="*/ 600349 w 2531533"/>
                <a:gd name="connsiteY75" fmla="*/ 1502771 h 1831443"/>
                <a:gd name="connsiteX76" fmla="*/ 635496 w 2531533"/>
                <a:gd name="connsiteY76" fmla="*/ 1395431 h 1831443"/>
                <a:gd name="connsiteX77" fmla="*/ 713389 w 2531533"/>
                <a:gd name="connsiteY77" fmla="*/ 1395431 h 1831443"/>
                <a:gd name="connsiteX78" fmla="*/ 748536 w 2531533"/>
                <a:gd name="connsiteY78" fmla="*/ 1502771 h 1831443"/>
                <a:gd name="connsiteX79" fmla="*/ 851127 w 2531533"/>
                <a:gd name="connsiteY79" fmla="*/ 1469524 h 1831443"/>
                <a:gd name="connsiteX80" fmla="*/ 815980 w 2531533"/>
                <a:gd name="connsiteY80" fmla="*/ 1362183 h 1831443"/>
                <a:gd name="connsiteX81" fmla="*/ 878675 w 2531533"/>
                <a:gd name="connsiteY81" fmla="*/ 1316587 h 1831443"/>
                <a:gd name="connsiteX82" fmla="*/ 969867 w 2531533"/>
                <a:gd name="connsiteY82" fmla="*/ 1383082 h 1831443"/>
                <a:gd name="connsiteX83" fmla="*/ 1033512 w 2531533"/>
                <a:gd name="connsiteY83" fmla="*/ 1295689 h 1831443"/>
                <a:gd name="connsiteX84" fmla="*/ 942319 w 2531533"/>
                <a:gd name="connsiteY84" fmla="*/ 1229195 h 1831443"/>
                <a:gd name="connsiteX85" fmla="*/ 956568 w 2531533"/>
                <a:gd name="connsiteY85" fmla="*/ 1193098 h 1831443"/>
                <a:gd name="connsiteX86" fmla="*/ 966067 w 2531533"/>
                <a:gd name="connsiteY86" fmla="*/ 1155101 h 1831443"/>
                <a:gd name="connsiteX87" fmla="*/ 1079108 w 2531533"/>
                <a:gd name="connsiteY87" fmla="*/ 1155101 h 1831443"/>
                <a:gd name="connsiteX88" fmla="*/ 1079108 w 2531533"/>
                <a:gd name="connsiteY88" fmla="*/ 1047760 h 1831443"/>
                <a:gd name="connsiteX89" fmla="*/ 966067 w 2531533"/>
                <a:gd name="connsiteY89" fmla="*/ 1047760 h 1831443"/>
                <a:gd name="connsiteX90" fmla="*/ 942319 w 2531533"/>
                <a:gd name="connsiteY90" fmla="*/ 973667 h 1831443"/>
                <a:gd name="connsiteX91" fmla="*/ 1033512 w 2531533"/>
                <a:gd name="connsiteY91" fmla="*/ 907172 h 1831443"/>
                <a:gd name="connsiteX92" fmla="*/ 969867 w 2531533"/>
                <a:gd name="connsiteY92" fmla="*/ 819780 h 1831443"/>
                <a:gd name="connsiteX93" fmla="*/ 878675 w 2531533"/>
                <a:gd name="connsiteY93" fmla="*/ 886274 h 1831443"/>
                <a:gd name="connsiteX94" fmla="*/ 815980 w 2531533"/>
                <a:gd name="connsiteY94" fmla="*/ 840678 h 1831443"/>
                <a:gd name="connsiteX95" fmla="*/ 851127 w 2531533"/>
                <a:gd name="connsiteY95" fmla="*/ 733337 h 1831443"/>
                <a:gd name="connsiteX96" fmla="*/ 748536 w 2531533"/>
                <a:gd name="connsiteY96" fmla="*/ 700090 h 1831443"/>
                <a:gd name="connsiteX97" fmla="*/ 712439 w 2531533"/>
                <a:gd name="connsiteY97" fmla="*/ 807431 h 1831443"/>
                <a:gd name="connsiteX98" fmla="*/ 634546 w 2531533"/>
                <a:gd name="connsiteY98" fmla="*/ 807431 h 1831443"/>
                <a:gd name="connsiteX99" fmla="*/ 599399 w 2531533"/>
                <a:gd name="connsiteY99" fmla="*/ 700090 h 1831443"/>
                <a:gd name="connsiteX100" fmla="*/ 496808 w 2531533"/>
                <a:gd name="connsiteY100" fmla="*/ 733337 h 1831443"/>
                <a:gd name="connsiteX101" fmla="*/ 531955 w 2531533"/>
                <a:gd name="connsiteY101" fmla="*/ 840678 h 1831443"/>
                <a:gd name="connsiteX102" fmla="*/ 469260 w 2531533"/>
                <a:gd name="connsiteY102" fmla="*/ 886274 h 1831443"/>
                <a:gd name="connsiteX103" fmla="*/ 378068 w 2531533"/>
                <a:gd name="connsiteY103" fmla="*/ 819780 h 1831443"/>
                <a:gd name="connsiteX104" fmla="*/ 314423 w 2531533"/>
                <a:gd name="connsiteY104" fmla="*/ 907172 h 1831443"/>
                <a:gd name="connsiteX105" fmla="*/ 405615 w 2531533"/>
                <a:gd name="connsiteY105" fmla="*/ 973667 h 1831443"/>
                <a:gd name="connsiteX106" fmla="*/ 391366 w 2531533"/>
                <a:gd name="connsiteY106" fmla="*/ 1009764 h 1831443"/>
                <a:gd name="connsiteX107" fmla="*/ 381867 w 2531533"/>
                <a:gd name="connsiteY107" fmla="*/ 1047760 h 1831443"/>
                <a:gd name="connsiteX108" fmla="*/ 269777 w 2531533"/>
                <a:gd name="connsiteY108" fmla="*/ 1047760 h 1831443"/>
                <a:gd name="connsiteX109" fmla="*/ 269777 w 2531533"/>
                <a:gd name="connsiteY109" fmla="*/ 1155101 h 1831443"/>
                <a:gd name="connsiteX110" fmla="*/ 382817 w 2531533"/>
                <a:gd name="connsiteY110" fmla="*/ 1155101 h 1831443"/>
                <a:gd name="connsiteX111" fmla="*/ 406565 w 2531533"/>
                <a:gd name="connsiteY111" fmla="*/ 1229195 h 1831443"/>
                <a:gd name="connsiteX112" fmla="*/ 545253 w 2531533"/>
                <a:gd name="connsiteY112" fmla="*/ 1060109 h 1831443"/>
                <a:gd name="connsiteX113" fmla="*/ 715289 w 2531533"/>
                <a:gd name="connsiteY113" fmla="*/ 973667 h 1831443"/>
                <a:gd name="connsiteX114" fmla="*/ 801731 w 2531533"/>
                <a:gd name="connsiteY114" fmla="*/ 1143702 h 1831443"/>
                <a:gd name="connsiteX115" fmla="*/ 631696 w 2531533"/>
                <a:gd name="connsiteY115" fmla="*/ 1230145 h 1831443"/>
                <a:gd name="connsiteX116" fmla="*/ 545253 w 2531533"/>
                <a:gd name="connsiteY116" fmla="*/ 1060109 h 183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2531533" h="1831443">
                  <a:moveTo>
                    <a:pt x="1019263" y="574701"/>
                  </a:moveTo>
                  <a:lnTo>
                    <a:pt x="956568" y="637396"/>
                  </a:lnTo>
                  <a:lnTo>
                    <a:pt x="1032562" y="713389"/>
                  </a:lnTo>
                  <a:lnTo>
                    <a:pt x="1095256" y="650694"/>
                  </a:lnTo>
                  <a:cubicBezTo>
                    <a:pt x="1106655" y="656394"/>
                    <a:pt x="1119004" y="662093"/>
                    <a:pt x="1131353" y="665893"/>
                  </a:cubicBezTo>
                  <a:lnTo>
                    <a:pt x="1131353" y="754235"/>
                  </a:lnTo>
                  <a:lnTo>
                    <a:pt x="1238694" y="754235"/>
                  </a:lnTo>
                  <a:lnTo>
                    <a:pt x="1238694" y="665893"/>
                  </a:lnTo>
                  <a:cubicBezTo>
                    <a:pt x="1251043" y="662093"/>
                    <a:pt x="1263392" y="657344"/>
                    <a:pt x="1274791" y="650694"/>
                  </a:cubicBezTo>
                  <a:lnTo>
                    <a:pt x="1337486" y="713389"/>
                  </a:lnTo>
                  <a:lnTo>
                    <a:pt x="1413479" y="637396"/>
                  </a:lnTo>
                  <a:lnTo>
                    <a:pt x="1350784" y="574701"/>
                  </a:lnTo>
                  <a:cubicBezTo>
                    <a:pt x="1356484" y="563302"/>
                    <a:pt x="1362183" y="550953"/>
                    <a:pt x="1365983" y="538604"/>
                  </a:cubicBezTo>
                  <a:lnTo>
                    <a:pt x="1454326" y="538604"/>
                  </a:lnTo>
                  <a:lnTo>
                    <a:pt x="1454326" y="431263"/>
                  </a:lnTo>
                  <a:lnTo>
                    <a:pt x="1365983" y="431263"/>
                  </a:lnTo>
                  <a:cubicBezTo>
                    <a:pt x="1362183" y="418914"/>
                    <a:pt x="1357434" y="406565"/>
                    <a:pt x="1350784" y="395166"/>
                  </a:cubicBezTo>
                  <a:lnTo>
                    <a:pt x="1413479" y="332472"/>
                  </a:lnTo>
                  <a:lnTo>
                    <a:pt x="1337486" y="256478"/>
                  </a:lnTo>
                  <a:lnTo>
                    <a:pt x="1274791" y="319173"/>
                  </a:lnTo>
                  <a:cubicBezTo>
                    <a:pt x="1263392" y="313473"/>
                    <a:pt x="1251043" y="307774"/>
                    <a:pt x="1238694" y="303974"/>
                  </a:cubicBezTo>
                  <a:lnTo>
                    <a:pt x="1238694" y="215632"/>
                  </a:lnTo>
                  <a:lnTo>
                    <a:pt x="1131353" y="215632"/>
                  </a:lnTo>
                  <a:lnTo>
                    <a:pt x="1131353" y="303974"/>
                  </a:lnTo>
                  <a:cubicBezTo>
                    <a:pt x="1119004" y="307774"/>
                    <a:pt x="1106655" y="312523"/>
                    <a:pt x="1095256" y="319173"/>
                  </a:cubicBezTo>
                  <a:lnTo>
                    <a:pt x="1032562" y="256478"/>
                  </a:lnTo>
                  <a:lnTo>
                    <a:pt x="956568" y="332472"/>
                  </a:lnTo>
                  <a:lnTo>
                    <a:pt x="1019263" y="395166"/>
                  </a:lnTo>
                  <a:cubicBezTo>
                    <a:pt x="1013563" y="406565"/>
                    <a:pt x="1007864" y="418914"/>
                    <a:pt x="1004064" y="431263"/>
                  </a:cubicBezTo>
                  <a:lnTo>
                    <a:pt x="915722" y="431263"/>
                  </a:lnTo>
                  <a:lnTo>
                    <a:pt x="915722" y="538604"/>
                  </a:lnTo>
                  <a:lnTo>
                    <a:pt x="1004064" y="538604"/>
                  </a:lnTo>
                  <a:cubicBezTo>
                    <a:pt x="1007864" y="550953"/>
                    <a:pt x="1012613" y="563302"/>
                    <a:pt x="1019263" y="574701"/>
                  </a:cubicBezTo>
                  <a:close/>
                  <a:moveTo>
                    <a:pt x="1183599" y="398016"/>
                  </a:moveTo>
                  <a:cubicBezTo>
                    <a:pt x="1232045" y="397066"/>
                    <a:pt x="1271941" y="436013"/>
                    <a:pt x="1271941" y="484459"/>
                  </a:cubicBezTo>
                  <a:cubicBezTo>
                    <a:pt x="1272891" y="532904"/>
                    <a:pt x="1233944" y="572801"/>
                    <a:pt x="1185499" y="572801"/>
                  </a:cubicBezTo>
                  <a:cubicBezTo>
                    <a:pt x="1137053" y="573751"/>
                    <a:pt x="1097156" y="534804"/>
                    <a:pt x="1097156" y="486358"/>
                  </a:cubicBezTo>
                  <a:cubicBezTo>
                    <a:pt x="1097156" y="437913"/>
                    <a:pt x="1135153" y="398016"/>
                    <a:pt x="1183599" y="398016"/>
                  </a:cubicBezTo>
                  <a:close/>
                  <a:moveTo>
                    <a:pt x="1637660" y="937570"/>
                  </a:moveTo>
                  <a:lnTo>
                    <a:pt x="1637660" y="794132"/>
                  </a:lnTo>
                  <a:lnTo>
                    <a:pt x="1494222" y="650694"/>
                  </a:lnTo>
                  <a:lnTo>
                    <a:pt x="1552167" y="592749"/>
                  </a:lnTo>
                  <a:lnTo>
                    <a:pt x="1552167" y="592749"/>
                  </a:lnTo>
                  <a:lnTo>
                    <a:pt x="1667107" y="592749"/>
                  </a:lnTo>
                  <a:lnTo>
                    <a:pt x="1821944" y="747586"/>
                  </a:lnTo>
                  <a:lnTo>
                    <a:pt x="1821944" y="920471"/>
                  </a:lnTo>
                  <a:lnTo>
                    <a:pt x="2220910" y="1319437"/>
                  </a:lnTo>
                  <a:lnTo>
                    <a:pt x="2220910" y="1319437"/>
                  </a:lnTo>
                  <a:cubicBezTo>
                    <a:pt x="2246558" y="1345085"/>
                    <a:pt x="2262707" y="1381182"/>
                    <a:pt x="2262707" y="1420129"/>
                  </a:cubicBezTo>
                  <a:cubicBezTo>
                    <a:pt x="2262707" y="1498972"/>
                    <a:pt x="2199062" y="1562616"/>
                    <a:pt x="2120219" y="1562616"/>
                  </a:cubicBezTo>
                  <a:cubicBezTo>
                    <a:pt x="2080322" y="1562616"/>
                    <a:pt x="2045175" y="1546468"/>
                    <a:pt x="2019527" y="1520820"/>
                  </a:cubicBezTo>
                  <a:lnTo>
                    <a:pt x="2019527" y="1520820"/>
                  </a:lnTo>
                  <a:lnTo>
                    <a:pt x="1620561" y="1121854"/>
                  </a:lnTo>
                  <a:lnTo>
                    <a:pt x="1447676" y="1121854"/>
                  </a:lnTo>
                  <a:lnTo>
                    <a:pt x="1292839" y="967017"/>
                  </a:lnTo>
                  <a:lnTo>
                    <a:pt x="1292839" y="852077"/>
                  </a:lnTo>
                  <a:lnTo>
                    <a:pt x="1350784" y="794132"/>
                  </a:lnTo>
                  <a:lnTo>
                    <a:pt x="1494222" y="937570"/>
                  </a:lnTo>
                  <a:lnTo>
                    <a:pt x="1637660" y="937570"/>
                  </a:lnTo>
                  <a:close/>
                  <a:moveTo>
                    <a:pt x="0" y="0"/>
                  </a:moveTo>
                  <a:lnTo>
                    <a:pt x="0" y="1831443"/>
                  </a:lnTo>
                  <a:lnTo>
                    <a:pt x="2531533" y="1831443"/>
                  </a:lnTo>
                  <a:lnTo>
                    <a:pt x="2531533" y="0"/>
                  </a:lnTo>
                  <a:lnTo>
                    <a:pt x="0" y="0"/>
                  </a:lnTo>
                  <a:close/>
                  <a:moveTo>
                    <a:pt x="2423243" y="1724103"/>
                  </a:moveTo>
                  <a:lnTo>
                    <a:pt x="108291" y="1724103"/>
                  </a:lnTo>
                  <a:lnTo>
                    <a:pt x="108291" y="108291"/>
                  </a:lnTo>
                  <a:lnTo>
                    <a:pt x="2424193" y="108291"/>
                  </a:lnTo>
                  <a:lnTo>
                    <a:pt x="2424193" y="1724103"/>
                  </a:lnTo>
                  <a:close/>
                  <a:moveTo>
                    <a:pt x="406565" y="1229195"/>
                  </a:moveTo>
                  <a:lnTo>
                    <a:pt x="315373" y="1295689"/>
                  </a:lnTo>
                  <a:lnTo>
                    <a:pt x="379018" y="1383082"/>
                  </a:lnTo>
                  <a:lnTo>
                    <a:pt x="470210" y="1316587"/>
                  </a:lnTo>
                  <a:cubicBezTo>
                    <a:pt x="489208" y="1334636"/>
                    <a:pt x="510106" y="1349835"/>
                    <a:pt x="532904" y="1362183"/>
                  </a:cubicBezTo>
                  <a:lnTo>
                    <a:pt x="497757" y="1469524"/>
                  </a:lnTo>
                  <a:lnTo>
                    <a:pt x="600349" y="1502771"/>
                  </a:lnTo>
                  <a:lnTo>
                    <a:pt x="635496" y="1395431"/>
                  </a:lnTo>
                  <a:cubicBezTo>
                    <a:pt x="662093" y="1399230"/>
                    <a:pt x="687741" y="1399230"/>
                    <a:pt x="713389" y="1395431"/>
                  </a:cubicBezTo>
                  <a:lnTo>
                    <a:pt x="748536" y="1502771"/>
                  </a:lnTo>
                  <a:lnTo>
                    <a:pt x="851127" y="1469524"/>
                  </a:lnTo>
                  <a:lnTo>
                    <a:pt x="815980" y="1362183"/>
                  </a:lnTo>
                  <a:cubicBezTo>
                    <a:pt x="838778" y="1349835"/>
                    <a:pt x="859676" y="1334636"/>
                    <a:pt x="878675" y="1316587"/>
                  </a:cubicBezTo>
                  <a:lnTo>
                    <a:pt x="969867" y="1383082"/>
                  </a:lnTo>
                  <a:lnTo>
                    <a:pt x="1033512" y="1295689"/>
                  </a:lnTo>
                  <a:lnTo>
                    <a:pt x="942319" y="1229195"/>
                  </a:lnTo>
                  <a:cubicBezTo>
                    <a:pt x="948019" y="1217796"/>
                    <a:pt x="952769" y="1205447"/>
                    <a:pt x="956568" y="1193098"/>
                  </a:cubicBezTo>
                  <a:cubicBezTo>
                    <a:pt x="960368" y="1180749"/>
                    <a:pt x="964168" y="1168400"/>
                    <a:pt x="966067" y="1155101"/>
                  </a:cubicBezTo>
                  <a:lnTo>
                    <a:pt x="1079108" y="1155101"/>
                  </a:lnTo>
                  <a:lnTo>
                    <a:pt x="1079108" y="1047760"/>
                  </a:lnTo>
                  <a:lnTo>
                    <a:pt x="966067" y="1047760"/>
                  </a:lnTo>
                  <a:cubicBezTo>
                    <a:pt x="961318" y="1022113"/>
                    <a:pt x="952769" y="997415"/>
                    <a:pt x="942319" y="973667"/>
                  </a:cubicBezTo>
                  <a:lnTo>
                    <a:pt x="1033512" y="907172"/>
                  </a:lnTo>
                  <a:lnTo>
                    <a:pt x="969867" y="819780"/>
                  </a:lnTo>
                  <a:lnTo>
                    <a:pt x="878675" y="886274"/>
                  </a:lnTo>
                  <a:cubicBezTo>
                    <a:pt x="859676" y="868226"/>
                    <a:pt x="838778" y="853027"/>
                    <a:pt x="815980" y="840678"/>
                  </a:cubicBezTo>
                  <a:lnTo>
                    <a:pt x="851127" y="733337"/>
                  </a:lnTo>
                  <a:lnTo>
                    <a:pt x="748536" y="700090"/>
                  </a:lnTo>
                  <a:lnTo>
                    <a:pt x="712439" y="807431"/>
                  </a:lnTo>
                  <a:cubicBezTo>
                    <a:pt x="685841" y="803631"/>
                    <a:pt x="660194" y="803631"/>
                    <a:pt x="634546" y="807431"/>
                  </a:cubicBezTo>
                  <a:lnTo>
                    <a:pt x="599399" y="700090"/>
                  </a:lnTo>
                  <a:lnTo>
                    <a:pt x="496808" y="733337"/>
                  </a:lnTo>
                  <a:lnTo>
                    <a:pt x="531955" y="840678"/>
                  </a:lnTo>
                  <a:cubicBezTo>
                    <a:pt x="509156" y="853027"/>
                    <a:pt x="488258" y="868226"/>
                    <a:pt x="469260" y="886274"/>
                  </a:cubicBezTo>
                  <a:lnTo>
                    <a:pt x="378068" y="819780"/>
                  </a:lnTo>
                  <a:lnTo>
                    <a:pt x="314423" y="907172"/>
                  </a:lnTo>
                  <a:lnTo>
                    <a:pt x="405615" y="973667"/>
                  </a:lnTo>
                  <a:cubicBezTo>
                    <a:pt x="399916" y="985066"/>
                    <a:pt x="395166" y="997415"/>
                    <a:pt x="391366" y="1009764"/>
                  </a:cubicBezTo>
                  <a:cubicBezTo>
                    <a:pt x="387567" y="1022113"/>
                    <a:pt x="383767" y="1034461"/>
                    <a:pt x="381867" y="1047760"/>
                  </a:cubicBezTo>
                  <a:lnTo>
                    <a:pt x="269777" y="1047760"/>
                  </a:lnTo>
                  <a:lnTo>
                    <a:pt x="269777" y="1155101"/>
                  </a:lnTo>
                  <a:lnTo>
                    <a:pt x="382817" y="1155101"/>
                  </a:lnTo>
                  <a:cubicBezTo>
                    <a:pt x="386617" y="1180749"/>
                    <a:pt x="395166" y="1205447"/>
                    <a:pt x="406565" y="1229195"/>
                  </a:cubicBezTo>
                  <a:close/>
                  <a:moveTo>
                    <a:pt x="545253" y="1060109"/>
                  </a:moveTo>
                  <a:cubicBezTo>
                    <a:pt x="568051" y="989815"/>
                    <a:pt x="644045" y="950869"/>
                    <a:pt x="715289" y="973667"/>
                  </a:cubicBezTo>
                  <a:cubicBezTo>
                    <a:pt x="785583" y="996465"/>
                    <a:pt x="824529" y="1072458"/>
                    <a:pt x="801731" y="1143702"/>
                  </a:cubicBezTo>
                  <a:cubicBezTo>
                    <a:pt x="778933" y="1213996"/>
                    <a:pt x="702940" y="1252943"/>
                    <a:pt x="631696" y="1230145"/>
                  </a:cubicBezTo>
                  <a:cubicBezTo>
                    <a:pt x="561402" y="1206397"/>
                    <a:pt x="522455" y="1130403"/>
                    <a:pt x="545253" y="1060109"/>
                  </a:cubicBezTo>
                  <a:close/>
                </a:path>
              </a:pathLst>
            </a:custGeom>
            <a:solidFill>
              <a:schemeClr val="accent2"/>
            </a:solidFill>
            <a:ln w="9499"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FFB9"/>
                </a:solidFill>
                <a:effectLst/>
                <a:uLnTx/>
                <a:uFillTx/>
                <a:latin typeface="Arial"/>
                <a:ea typeface="+mn-ea"/>
                <a:cs typeface="+mn-cs"/>
              </a:endParaRPr>
            </a:p>
          </p:txBody>
        </p:sp>
      </p:grpSp>
      <p:grpSp>
        <p:nvGrpSpPr>
          <p:cNvPr id="34" name="Gruppieren 33">
            <a:extLst>
              <a:ext uri="{FF2B5EF4-FFF2-40B4-BE49-F238E27FC236}">
                <a16:creationId xmlns:a16="http://schemas.microsoft.com/office/drawing/2014/main" id="{E04DE1EA-A7E3-7C4A-9487-9F371D0918DC}"/>
              </a:ext>
            </a:extLst>
          </p:cNvPr>
          <p:cNvGrpSpPr/>
          <p:nvPr/>
        </p:nvGrpSpPr>
        <p:grpSpPr>
          <a:xfrm>
            <a:off x="5572905" y="2087713"/>
            <a:ext cx="2567169" cy="2005557"/>
            <a:chOff x="5572905" y="2087713"/>
            <a:chExt cx="2567169" cy="2005557"/>
          </a:xfrm>
        </p:grpSpPr>
        <p:sp>
          <p:nvSpPr>
            <p:cNvPr id="106" name="Freeform 105">
              <a:extLst>
                <a:ext uri="{FF2B5EF4-FFF2-40B4-BE49-F238E27FC236}">
                  <a16:creationId xmlns:a16="http://schemas.microsoft.com/office/drawing/2014/main" id="{EB49FC04-983C-B64D-A0E2-D20C22693243}"/>
                </a:ext>
              </a:extLst>
            </p:cNvPr>
            <p:cNvSpPr/>
            <p:nvPr/>
          </p:nvSpPr>
          <p:spPr bwMode="auto">
            <a:xfrm>
              <a:off x="5572905" y="2448598"/>
              <a:ext cx="1830356" cy="1644672"/>
            </a:xfrm>
            <a:custGeom>
              <a:avLst/>
              <a:gdLst>
                <a:gd name="connsiteX0" fmla="*/ 1594884 w 1594884"/>
                <a:gd name="connsiteY0" fmla="*/ 0 h 680484"/>
                <a:gd name="connsiteX1" fmla="*/ 680484 w 1594884"/>
                <a:gd name="connsiteY1" fmla="*/ 0 h 680484"/>
                <a:gd name="connsiteX2" fmla="*/ 0 w 1594884"/>
                <a:gd name="connsiteY2" fmla="*/ 680484 h 680484"/>
                <a:gd name="connsiteX0" fmla="*/ 1011588 w 1011588"/>
                <a:gd name="connsiteY0" fmla="*/ 4166 h 680484"/>
                <a:gd name="connsiteX1" fmla="*/ 680484 w 1011588"/>
                <a:gd name="connsiteY1" fmla="*/ 0 h 680484"/>
                <a:gd name="connsiteX2" fmla="*/ 0 w 1011588"/>
                <a:gd name="connsiteY2" fmla="*/ 680484 h 680484"/>
                <a:gd name="connsiteX0" fmla="*/ 790297 w 790297"/>
                <a:gd name="connsiteY0" fmla="*/ 4166 h 680484"/>
                <a:gd name="connsiteX1" fmla="*/ 680484 w 790297"/>
                <a:gd name="connsiteY1" fmla="*/ 0 h 680484"/>
                <a:gd name="connsiteX2" fmla="*/ 0 w 790297"/>
                <a:gd name="connsiteY2" fmla="*/ 680484 h 680484"/>
                <a:gd name="connsiteX0" fmla="*/ 753690 w 753690"/>
                <a:gd name="connsiteY0" fmla="*/ 225 h 680484"/>
                <a:gd name="connsiteX1" fmla="*/ 680484 w 753690"/>
                <a:gd name="connsiteY1" fmla="*/ 0 h 680484"/>
                <a:gd name="connsiteX2" fmla="*/ 0 w 753690"/>
                <a:gd name="connsiteY2" fmla="*/ 680484 h 680484"/>
              </a:gdLst>
              <a:ahLst/>
              <a:cxnLst>
                <a:cxn ang="0">
                  <a:pos x="connsiteX0" y="connsiteY0"/>
                </a:cxn>
                <a:cxn ang="0">
                  <a:pos x="connsiteX1" y="connsiteY1"/>
                </a:cxn>
                <a:cxn ang="0">
                  <a:pos x="connsiteX2" y="connsiteY2"/>
                </a:cxn>
              </a:cxnLst>
              <a:rect l="l" t="t" r="r" b="b"/>
              <a:pathLst>
                <a:path w="753690" h="680484">
                  <a:moveTo>
                    <a:pt x="753690" y="225"/>
                  </a:moveTo>
                  <a:lnTo>
                    <a:pt x="680484" y="0"/>
                  </a:lnTo>
                  <a:lnTo>
                    <a:pt x="0" y="680484"/>
                  </a:lnTo>
                </a:path>
              </a:pathLst>
            </a:custGeom>
            <a:noFill/>
            <a:ln w="19050">
              <a:solidFill>
                <a:schemeClr val="accent2"/>
              </a:solidFill>
              <a:prstDash val="solid"/>
              <a:miter lim="800000"/>
              <a:headEnd/>
              <a:tailEnd/>
              <a:extLst>
                <a:ext uri="{C807C97D-BFC1-408E-A445-0C87EB9F89A2}">
                  <ask:lineSketchStyleProps xmlns:ask="http://schemas.microsoft.com/office/drawing/2018/sketchyshapes">
                    <ask:type>
                      <ask:lineSketchNone/>
                    </ask:type>
                  </ask:lineSketchStyleProps>
                </a:ext>
              </a:extLst>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lvl="0" indent="0" algn="l" defTabSz="913943" eaLnBrk="1" fontAlgn="base" latinLnBrk="0" hangingPunct="1">
                <a:lnSpc>
                  <a:spcPct val="100000"/>
                </a:lnSpc>
                <a:spcBef>
                  <a:spcPct val="50000"/>
                </a:spcBef>
                <a:spcAft>
                  <a:spcPct val="0"/>
                </a:spcAft>
                <a:buClrTx/>
                <a:buSzTx/>
                <a:buFontTx/>
                <a:buNone/>
                <a:tabLst/>
                <a:defRPr/>
              </a:pPr>
              <a:endParaRPr kumimoji="0" lang="en-US" sz="2399" b="0" i="0" u="none" strike="noStrike" kern="1200" cap="none" spc="0" normalizeH="0" baseline="0" noProof="0">
                <a:ln>
                  <a:noFill/>
                </a:ln>
                <a:solidFill>
                  <a:srgbClr val="00FFB9"/>
                </a:solidFill>
                <a:effectLst/>
                <a:uLnTx/>
                <a:uFillTx/>
                <a:latin typeface="Arial"/>
                <a:ea typeface="ヒラギノ角ゴ Pro W3" charset="0"/>
                <a:cs typeface="+mn-cs"/>
              </a:endParaRPr>
            </a:p>
          </p:txBody>
        </p:sp>
        <p:sp>
          <p:nvSpPr>
            <p:cNvPr id="24" name="Freihandform 23">
              <a:extLst>
                <a:ext uri="{FF2B5EF4-FFF2-40B4-BE49-F238E27FC236}">
                  <a16:creationId xmlns:a16="http://schemas.microsoft.com/office/drawing/2014/main" id="{A5ECC9C9-C982-4946-96A2-3D1FDA62A168}"/>
                </a:ext>
              </a:extLst>
            </p:cNvPr>
            <p:cNvSpPr/>
            <p:nvPr/>
          </p:nvSpPr>
          <p:spPr>
            <a:xfrm>
              <a:off x="7402774" y="2087713"/>
              <a:ext cx="737300" cy="483960"/>
            </a:xfrm>
            <a:custGeom>
              <a:avLst/>
              <a:gdLst>
                <a:gd name="connsiteX0" fmla="*/ 1181604 w 2531248"/>
                <a:gd name="connsiteY0" fmla="*/ 1089842 h 1669482"/>
                <a:gd name="connsiteX1" fmla="*/ 1162226 w 2531248"/>
                <a:gd name="connsiteY1" fmla="*/ 927786 h 1669482"/>
                <a:gd name="connsiteX2" fmla="*/ 1353444 w 2531248"/>
                <a:gd name="connsiteY2" fmla="*/ 1026482 h 1669482"/>
                <a:gd name="connsiteX3" fmla="*/ 1346320 w 2531248"/>
                <a:gd name="connsiteY3" fmla="*/ 1077018 h 1669482"/>
                <a:gd name="connsiteX4" fmla="*/ 1354394 w 2531248"/>
                <a:gd name="connsiteY4" fmla="*/ 1131258 h 1669482"/>
                <a:gd name="connsiteX5" fmla="*/ 1181604 w 2531248"/>
                <a:gd name="connsiteY5" fmla="*/ 1089842 h 1669482"/>
                <a:gd name="connsiteX6" fmla="*/ 1445681 w 2531248"/>
                <a:gd name="connsiteY6" fmla="*/ 1243064 h 1669482"/>
                <a:gd name="connsiteX7" fmla="*/ 1370828 w 2531248"/>
                <a:gd name="connsiteY7" fmla="*/ 1169635 h 1669482"/>
                <a:gd name="connsiteX8" fmla="*/ 1165835 w 2531248"/>
                <a:gd name="connsiteY8" fmla="*/ 1234989 h 1669482"/>
                <a:gd name="connsiteX9" fmla="*/ 1294074 w 2531248"/>
                <a:gd name="connsiteY9" fmla="*/ 1335871 h 1669482"/>
                <a:gd name="connsiteX10" fmla="*/ 1445681 w 2531248"/>
                <a:gd name="connsiteY10" fmla="*/ 1243064 h 1669482"/>
                <a:gd name="connsiteX11" fmla="*/ 1368928 w 2531248"/>
                <a:gd name="connsiteY11" fmla="*/ 987820 h 1669482"/>
                <a:gd name="connsiteX12" fmla="*/ 1442357 w 2531248"/>
                <a:gd name="connsiteY12" fmla="*/ 912967 h 1669482"/>
                <a:gd name="connsiteX13" fmla="*/ 1377002 w 2531248"/>
                <a:gd name="connsiteY13" fmla="*/ 707974 h 1669482"/>
                <a:gd name="connsiteX14" fmla="*/ 1276121 w 2531248"/>
                <a:gd name="connsiteY14" fmla="*/ 836214 h 1669482"/>
                <a:gd name="connsiteX15" fmla="*/ 1368928 w 2531248"/>
                <a:gd name="connsiteY15" fmla="*/ 987820 h 1669482"/>
                <a:gd name="connsiteX16" fmla="*/ 1534879 w 2531248"/>
                <a:gd name="connsiteY16" fmla="*/ 1265577 h 1669482"/>
                <a:gd name="connsiteX17" fmla="*/ 1484343 w 2531248"/>
                <a:gd name="connsiteY17" fmla="*/ 1258452 h 1669482"/>
                <a:gd name="connsiteX18" fmla="*/ 1385646 w 2531248"/>
                <a:gd name="connsiteY18" fmla="*/ 1449671 h 1669482"/>
                <a:gd name="connsiteX19" fmla="*/ 1547703 w 2531248"/>
                <a:gd name="connsiteY19" fmla="*/ 1430293 h 1669482"/>
                <a:gd name="connsiteX20" fmla="*/ 1589214 w 2531248"/>
                <a:gd name="connsiteY20" fmla="*/ 1257502 h 1669482"/>
                <a:gd name="connsiteX21" fmla="*/ 1534879 w 2531248"/>
                <a:gd name="connsiteY21" fmla="*/ 1265577 h 1669482"/>
                <a:gd name="connsiteX22" fmla="*/ 1534879 w 2531248"/>
                <a:gd name="connsiteY22" fmla="*/ 888554 h 1669482"/>
                <a:gd name="connsiteX23" fmla="*/ 1585414 w 2531248"/>
                <a:gd name="connsiteY23" fmla="*/ 895678 h 1669482"/>
                <a:gd name="connsiteX24" fmla="*/ 1684111 w 2531248"/>
                <a:gd name="connsiteY24" fmla="*/ 704460 h 1669482"/>
                <a:gd name="connsiteX25" fmla="*/ 1522055 w 2531248"/>
                <a:gd name="connsiteY25" fmla="*/ 723838 h 1669482"/>
                <a:gd name="connsiteX26" fmla="*/ 1480543 w 2531248"/>
                <a:gd name="connsiteY26" fmla="*/ 896628 h 1669482"/>
                <a:gd name="connsiteX27" fmla="*/ 1534879 w 2531248"/>
                <a:gd name="connsiteY27" fmla="*/ 888554 h 1669482"/>
                <a:gd name="connsiteX28" fmla="*/ 1775588 w 2531248"/>
                <a:gd name="connsiteY28" fmla="*/ 818260 h 1669482"/>
                <a:gd name="connsiteX29" fmla="*/ 1624076 w 2531248"/>
                <a:gd name="connsiteY29" fmla="*/ 911067 h 1669482"/>
                <a:gd name="connsiteX30" fmla="*/ 1698930 w 2531248"/>
                <a:gd name="connsiteY30" fmla="*/ 984496 h 1669482"/>
                <a:gd name="connsiteX31" fmla="*/ 1903922 w 2531248"/>
                <a:gd name="connsiteY31" fmla="*/ 919141 h 1669482"/>
                <a:gd name="connsiteX32" fmla="*/ 1775588 w 2531248"/>
                <a:gd name="connsiteY32" fmla="*/ 818260 h 1669482"/>
                <a:gd name="connsiteX33" fmla="*/ 1534879 w 2531248"/>
                <a:gd name="connsiteY33" fmla="*/ 974712 h 1669482"/>
                <a:gd name="connsiteX34" fmla="*/ 1432572 w 2531248"/>
                <a:gd name="connsiteY34" fmla="*/ 1077018 h 1669482"/>
                <a:gd name="connsiteX35" fmla="*/ 1534879 w 2531248"/>
                <a:gd name="connsiteY35" fmla="*/ 1179324 h 1669482"/>
                <a:gd name="connsiteX36" fmla="*/ 1637185 w 2531248"/>
                <a:gd name="connsiteY36" fmla="*/ 1077018 h 1669482"/>
                <a:gd name="connsiteX37" fmla="*/ 1534879 w 2531248"/>
                <a:gd name="connsiteY37" fmla="*/ 974712 h 1669482"/>
                <a:gd name="connsiteX38" fmla="*/ 2531154 w 2531248"/>
                <a:gd name="connsiteY38" fmla="*/ 861671 h 1669482"/>
                <a:gd name="connsiteX39" fmla="*/ 2086497 w 2531248"/>
                <a:gd name="connsiteY39" fmla="*/ 861671 h 1669482"/>
                <a:gd name="connsiteX40" fmla="*/ 2127248 w 2531248"/>
                <a:gd name="connsiteY40" fmla="*/ 1077113 h 1669482"/>
                <a:gd name="connsiteX41" fmla="*/ 1534879 w 2531248"/>
                <a:gd name="connsiteY41" fmla="*/ 1669482 h 1669482"/>
                <a:gd name="connsiteX42" fmla="*/ 942509 w 2531248"/>
                <a:gd name="connsiteY42" fmla="*/ 1077113 h 1669482"/>
                <a:gd name="connsiteX43" fmla="*/ 983261 w 2531248"/>
                <a:gd name="connsiteY43" fmla="*/ 861671 h 1669482"/>
                <a:gd name="connsiteX44" fmla="*/ 587715 w 2531248"/>
                <a:gd name="connsiteY44" fmla="*/ 861671 h 1669482"/>
                <a:gd name="connsiteX45" fmla="*/ 592464 w 2531248"/>
                <a:gd name="connsiteY45" fmla="*/ 1023253 h 1669482"/>
                <a:gd name="connsiteX46" fmla="*/ 161676 w 2531248"/>
                <a:gd name="connsiteY46" fmla="*/ 1561762 h 1669482"/>
                <a:gd name="connsiteX47" fmla="*/ 0 w 2531248"/>
                <a:gd name="connsiteY47" fmla="*/ 1561762 h 1669482"/>
                <a:gd name="connsiteX48" fmla="*/ 0 w 2531248"/>
                <a:gd name="connsiteY48" fmla="*/ 728018 h 1669482"/>
                <a:gd name="connsiteX49" fmla="*/ 399726 w 2531248"/>
                <a:gd name="connsiteY49" fmla="*/ 700090 h 1669482"/>
                <a:gd name="connsiteX50" fmla="*/ 347480 w 2531248"/>
                <a:gd name="connsiteY50" fmla="*/ 316038 h 1669482"/>
                <a:gd name="connsiteX51" fmla="*/ 293905 w 2531248"/>
                <a:gd name="connsiteY51" fmla="*/ 269207 h 1669482"/>
                <a:gd name="connsiteX52" fmla="*/ 0 w 2531248"/>
                <a:gd name="connsiteY52" fmla="*/ 269207 h 1669482"/>
                <a:gd name="connsiteX53" fmla="*/ 0 w 2531248"/>
                <a:gd name="connsiteY53" fmla="*/ 0 h 1669482"/>
                <a:gd name="connsiteX54" fmla="*/ 215442 w 2531248"/>
                <a:gd name="connsiteY54" fmla="*/ 0 h 1669482"/>
                <a:gd name="connsiteX55" fmla="*/ 502222 w 2531248"/>
                <a:gd name="connsiteY55" fmla="*/ 259138 h 1669482"/>
                <a:gd name="connsiteX56" fmla="*/ 502317 w 2531248"/>
                <a:gd name="connsiteY56" fmla="*/ 259138 h 1669482"/>
                <a:gd name="connsiteX57" fmla="*/ 546393 w 2531248"/>
                <a:gd name="connsiteY57" fmla="*/ 488353 h 1669482"/>
                <a:gd name="connsiteX58" fmla="*/ 1241829 w 2531248"/>
                <a:gd name="connsiteY58" fmla="*/ 562542 h 1669482"/>
                <a:gd name="connsiteX59" fmla="*/ 1534879 w 2531248"/>
                <a:gd name="connsiteY59" fmla="*/ 484649 h 1669482"/>
                <a:gd name="connsiteX60" fmla="*/ 1929760 w 2531248"/>
                <a:gd name="connsiteY60" fmla="*/ 635876 h 1669482"/>
                <a:gd name="connsiteX61" fmla="*/ 2531248 w 2531248"/>
                <a:gd name="connsiteY61" fmla="*/ 699995 h 1669482"/>
                <a:gd name="connsiteX62" fmla="*/ 2531248 w 2531248"/>
                <a:gd name="connsiteY62" fmla="*/ 861671 h 1669482"/>
                <a:gd name="connsiteX63" fmla="*/ 2019527 w 2531248"/>
                <a:gd name="connsiteY63" fmla="*/ 1077018 h 1669482"/>
                <a:gd name="connsiteX64" fmla="*/ 1534879 w 2531248"/>
                <a:gd name="connsiteY64" fmla="*/ 592369 h 1669482"/>
                <a:gd name="connsiteX65" fmla="*/ 1050230 w 2531248"/>
                <a:gd name="connsiteY65" fmla="*/ 1077018 h 1669482"/>
                <a:gd name="connsiteX66" fmla="*/ 1534879 w 2531248"/>
                <a:gd name="connsiteY66" fmla="*/ 1561666 h 1669482"/>
                <a:gd name="connsiteX67" fmla="*/ 2019527 w 2531248"/>
                <a:gd name="connsiteY67" fmla="*/ 1077018 h 1669482"/>
                <a:gd name="connsiteX68" fmla="*/ 1715268 w 2531248"/>
                <a:gd name="connsiteY68" fmla="*/ 1022778 h 1669482"/>
                <a:gd name="connsiteX69" fmla="*/ 1723343 w 2531248"/>
                <a:gd name="connsiteY69" fmla="*/ 1077113 h 1669482"/>
                <a:gd name="connsiteX70" fmla="*/ 1716218 w 2531248"/>
                <a:gd name="connsiteY70" fmla="*/ 1127649 h 1669482"/>
                <a:gd name="connsiteX71" fmla="*/ 1907437 w 2531248"/>
                <a:gd name="connsiteY71" fmla="*/ 1226345 h 1669482"/>
                <a:gd name="connsiteX72" fmla="*/ 1888058 w 2531248"/>
                <a:gd name="connsiteY72" fmla="*/ 1064289 h 1669482"/>
                <a:gd name="connsiteX73" fmla="*/ 1715268 w 2531248"/>
                <a:gd name="connsiteY73" fmla="*/ 1022778 h 1669482"/>
                <a:gd name="connsiteX74" fmla="*/ 1700830 w 2531248"/>
                <a:gd name="connsiteY74" fmla="*/ 1166215 h 1669482"/>
                <a:gd name="connsiteX75" fmla="*/ 1627401 w 2531248"/>
                <a:gd name="connsiteY75" fmla="*/ 1241069 h 1669482"/>
                <a:gd name="connsiteX76" fmla="*/ 1692755 w 2531248"/>
                <a:gd name="connsiteY76" fmla="*/ 1446061 h 1669482"/>
                <a:gd name="connsiteX77" fmla="*/ 1793637 w 2531248"/>
                <a:gd name="connsiteY77" fmla="*/ 1317822 h 1669482"/>
                <a:gd name="connsiteX78" fmla="*/ 1700830 w 2531248"/>
                <a:gd name="connsiteY78" fmla="*/ 1166215 h 1669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2531248" h="1669482">
                  <a:moveTo>
                    <a:pt x="1181604" y="1089842"/>
                  </a:moveTo>
                  <a:cubicBezTo>
                    <a:pt x="1144177" y="1033607"/>
                    <a:pt x="1162226" y="927786"/>
                    <a:pt x="1162226" y="927786"/>
                  </a:cubicBezTo>
                  <a:cubicBezTo>
                    <a:pt x="1214756" y="974902"/>
                    <a:pt x="1287900" y="1006249"/>
                    <a:pt x="1353444" y="1026482"/>
                  </a:cubicBezTo>
                  <a:cubicBezTo>
                    <a:pt x="1348980" y="1042631"/>
                    <a:pt x="1346320" y="1059444"/>
                    <a:pt x="1346320" y="1077018"/>
                  </a:cubicBezTo>
                  <a:cubicBezTo>
                    <a:pt x="1346320" y="1095921"/>
                    <a:pt x="1349170" y="1114065"/>
                    <a:pt x="1354394" y="1131258"/>
                  </a:cubicBezTo>
                  <a:cubicBezTo>
                    <a:pt x="1281915" y="1141137"/>
                    <a:pt x="1211431" y="1134488"/>
                    <a:pt x="1181604" y="1089842"/>
                  </a:cubicBezTo>
                  <a:close/>
                  <a:moveTo>
                    <a:pt x="1445681" y="1243064"/>
                  </a:moveTo>
                  <a:cubicBezTo>
                    <a:pt x="1414334" y="1226155"/>
                    <a:pt x="1388401" y="1200602"/>
                    <a:pt x="1370828" y="1169635"/>
                  </a:cubicBezTo>
                  <a:cubicBezTo>
                    <a:pt x="1310128" y="1201552"/>
                    <a:pt x="1236319" y="1231190"/>
                    <a:pt x="1165835" y="1234989"/>
                  </a:cubicBezTo>
                  <a:cubicBezTo>
                    <a:pt x="1165835" y="1234989"/>
                    <a:pt x="1227865" y="1322572"/>
                    <a:pt x="1294074" y="1335871"/>
                  </a:cubicBezTo>
                  <a:cubicBezTo>
                    <a:pt x="1346795" y="1346415"/>
                    <a:pt x="1401320" y="1301294"/>
                    <a:pt x="1445681" y="1243064"/>
                  </a:cubicBezTo>
                  <a:close/>
                  <a:moveTo>
                    <a:pt x="1368928" y="987820"/>
                  </a:moveTo>
                  <a:cubicBezTo>
                    <a:pt x="1385836" y="956473"/>
                    <a:pt x="1411389" y="930540"/>
                    <a:pt x="1442357" y="912967"/>
                  </a:cubicBezTo>
                  <a:cubicBezTo>
                    <a:pt x="1410439" y="852267"/>
                    <a:pt x="1380802" y="778458"/>
                    <a:pt x="1377002" y="707974"/>
                  </a:cubicBezTo>
                  <a:cubicBezTo>
                    <a:pt x="1377002" y="707974"/>
                    <a:pt x="1289420" y="770004"/>
                    <a:pt x="1276121" y="836214"/>
                  </a:cubicBezTo>
                  <a:cubicBezTo>
                    <a:pt x="1265482" y="888934"/>
                    <a:pt x="1310698" y="943459"/>
                    <a:pt x="1368928" y="987820"/>
                  </a:cubicBezTo>
                  <a:close/>
                  <a:moveTo>
                    <a:pt x="1534879" y="1265577"/>
                  </a:moveTo>
                  <a:cubicBezTo>
                    <a:pt x="1517400" y="1265577"/>
                    <a:pt x="1500492" y="1263012"/>
                    <a:pt x="1484343" y="1258452"/>
                  </a:cubicBezTo>
                  <a:cubicBezTo>
                    <a:pt x="1464015" y="1323997"/>
                    <a:pt x="1432762" y="1397141"/>
                    <a:pt x="1385646" y="1449671"/>
                  </a:cubicBezTo>
                  <a:cubicBezTo>
                    <a:pt x="1385646" y="1449671"/>
                    <a:pt x="1491467" y="1467814"/>
                    <a:pt x="1547703" y="1430293"/>
                  </a:cubicBezTo>
                  <a:cubicBezTo>
                    <a:pt x="1592349" y="1400560"/>
                    <a:pt x="1598998" y="1330076"/>
                    <a:pt x="1589214" y="1257502"/>
                  </a:cubicBezTo>
                  <a:cubicBezTo>
                    <a:pt x="1571926" y="1262727"/>
                    <a:pt x="1553782" y="1265577"/>
                    <a:pt x="1534879" y="1265577"/>
                  </a:cubicBezTo>
                  <a:close/>
                  <a:moveTo>
                    <a:pt x="1534879" y="888554"/>
                  </a:moveTo>
                  <a:cubicBezTo>
                    <a:pt x="1552452" y="888554"/>
                    <a:pt x="1569266" y="891119"/>
                    <a:pt x="1585414" y="895678"/>
                  </a:cubicBezTo>
                  <a:cubicBezTo>
                    <a:pt x="1605743" y="830229"/>
                    <a:pt x="1636995" y="756990"/>
                    <a:pt x="1684111" y="704460"/>
                  </a:cubicBezTo>
                  <a:cubicBezTo>
                    <a:pt x="1684111" y="704460"/>
                    <a:pt x="1578290" y="686316"/>
                    <a:pt x="1522055" y="723838"/>
                  </a:cubicBezTo>
                  <a:cubicBezTo>
                    <a:pt x="1477314" y="753571"/>
                    <a:pt x="1470759" y="824055"/>
                    <a:pt x="1480543" y="896628"/>
                  </a:cubicBezTo>
                  <a:cubicBezTo>
                    <a:pt x="1497832" y="891404"/>
                    <a:pt x="1515975" y="888554"/>
                    <a:pt x="1534879" y="888554"/>
                  </a:cubicBezTo>
                  <a:close/>
                  <a:moveTo>
                    <a:pt x="1775588" y="818260"/>
                  </a:moveTo>
                  <a:cubicBezTo>
                    <a:pt x="1722963" y="807716"/>
                    <a:pt x="1668437" y="852932"/>
                    <a:pt x="1624076" y="911067"/>
                  </a:cubicBezTo>
                  <a:cubicBezTo>
                    <a:pt x="1655423" y="927976"/>
                    <a:pt x="1681356" y="953528"/>
                    <a:pt x="1698930" y="984496"/>
                  </a:cubicBezTo>
                  <a:cubicBezTo>
                    <a:pt x="1759629" y="952579"/>
                    <a:pt x="1833438" y="922941"/>
                    <a:pt x="1903922" y="919141"/>
                  </a:cubicBezTo>
                  <a:cubicBezTo>
                    <a:pt x="1903922" y="919141"/>
                    <a:pt x="1841892" y="831464"/>
                    <a:pt x="1775588" y="818260"/>
                  </a:cubicBezTo>
                  <a:close/>
                  <a:moveTo>
                    <a:pt x="1534879" y="974712"/>
                  </a:moveTo>
                  <a:cubicBezTo>
                    <a:pt x="1478358" y="974712"/>
                    <a:pt x="1432572" y="1020498"/>
                    <a:pt x="1432572" y="1077018"/>
                  </a:cubicBezTo>
                  <a:cubicBezTo>
                    <a:pt x="1432572" y="1133538"/>
                    <a:pt x="1478358" y="1179324"/>
                    <a:pt x="1534879" y="1179324"/>
                  </a:cubicBezTo>
                  <a:cubicBezTo>
                    <a:pt x="1591399" y="1179324"/>
                    <a:pt x="1637185" y="1133538"/>
                    <a:pt x="1637185" y="1077018"/>
                  </a:cubicBezTo>
                  <a:cubicBezTo>
                    <a:pt x="1637185" y="1020593"/>
                    <a:pt x="1591399" y="974712"/>
                    <a:pt x="1534879" y="974712"/>
                  </a:cubicBezTo>
                  <a:close/>
                  <a:moveTo>
                    <a:pt x="2531154" y="861671"/>
                  </a:moveTo>
                  <a:lnTo>
                    <a:pt x="2086497" y="861671"/>
                  </a:lnTo>
                  <a:cubicBezTo>
                    <a:pt x="2112714" y="928451"/>
                    <a:pt x="2127248" y="1001119"/>
                    <a:pt x="2127248" y="1077113"/>
                  </a:cubicBezTo>
                  <a:cubicBezTo>
                    <a:pt x="2127248" y="1403790"/>
                    <a:pt x="1861461" y="1669482"/>
                    <a:pt x="1534879" y="1669482"/>
                  </a:cubicBezTo>
                  <a:cubicBezTo>
                    <a:pt x="1208297" y="1669482"/>
                    <a:pt x="942509" y="1403790"/>
                    <a:pt x="942509" y="1077113"/>
                  </a:cubicBezTo>
                  <a:cubicBezTo>
                    <a:pt x="942509" y="1001119"/>
                    <a:pt x="957043" y="928546"/>
                    <a:pt x="983261" y="861671"/>
                  </a:cubicBezTo>
                  <a:lnTo>
                    <a:pt x="587715" y="861671"/>
                  </a:lnTo>
                  <a:cubicBezTo>
                    <a:pt x="590754" y="914487"/>
                    <a:pt x="592464" y="968727"/>
                    <a:pt x="592464" y="1023253"/>
                  </a:cubicBezTo>
                  <a:cubicBezTo>
                    <a:pt x="592464" y="1231475"/>
                    <a:pt x="492913" y="1561762"/>
                    <a:pt x="161676" y="1561762"/>
                  </a:cubicBezTo>
                  <a:lnTo>
                    <a:pt x="0" y="1561762"/>
                  </a:lnTo>
                  <a:lnTo>
                    <a:pt x="0" y="728018"/>
                  </a:lnTo>
                  <a:lnTo>
                    <a:pt x="399726" y="700090"/>
                  </a:lnTo>
                  <a:lnTo>
                    <a:pt x="347480" y="316038"/>
                  </a:lnTo>
                  <a:cubicBezTo>
                    <a:pt x="343871" y="289250"/>
                    <a:pt x="320978" y="269207"/>
                    <a:pt x="293905" y="269207"/>
                  </a:cubicBezTo>
                  <a:lnTo>
                    <a:pt x="0" y="269207"/>
                  </a:lnTo>
                  <a:lnTo>
                    <a:pt x="0" y="0"/>
                  </a:lnTo>
                  <a:lnTo>
                    <a:pt x="215442" y="0"/>
                  </a:lnTo>
                  <a:cubicBezTo>
                    <a:pt x="366764" y="0"/>
                    <a:pt x="476099" y="101166"/>
                    <a:pt x="502222" y="259138"/>
                  </a:cubicBezTo>
                  <a:lnTo>
                    <a:pt x="502317" y="259138"/>
                  </a:lnTo>
                  <a:cubicBezTo>
                    <a:pt x="502317" y="259138"/>
                    <a:pt x="524260" y="349665"/>
                    <a:pt x="546393" y="488353"/>
                  </a:cubicBezTo>
                  <a:lnTo>
                    <a:pt x="1241829" y="562542"/>
                  </a:lnTo>
                  <a:cubicBezTo>
                    <a:pt x="1328271" y="513051"/>
                    <a:pt x="1428298" y="484649"/>
                    <a:pt x="1534879" y="484649"/>
                  </a:cubicBezTo>
                  <a:cubicBezTo>
                    <a:pt x="1686486" y="484649"/>
                    <a:pt x="1824889" y="541929"/>
                    <a:pt x="1929760" y="635876"/>
                  </a:cubicBezTo>
                  <a:lnTo>
                    <a:pt x="2531248" y="699995"/>
                  </a:lnTo>
                  <a:lnTo>
                    <a:pt x="2531248" y="861671"/>
                  </a:lnTo>
                  <a:close/>
                  <a:moveTo>
                    <a:pt x="2019527" y="1077018"/>
                  </a:moveTo>
                  <a:cubicBezTo>
                    <a:pt x="2019527" y="809806"/>
                    <a:pt x="1802091" y="592369"/>
                    <a:pt x="1534879" y="592369"/>
                  </a:cubicBezTo>
                  <a:cubicBezTo>
                    <a:pt x="1267667" y="592369"/>
                    <a:pt x="1050230" y="809806"/>
                    <a:pt x="1050230" y="1077018"/>
                  </a:cubicBezTo>
                  <a:cubicBezTo>
                    <a:pt x="1050230" y="1344230"/>
                    <a:pt x="1267667" y="1561666"/>
                    <a:pt x="1534879" y="1561666"/>
                  </a:cubicBezTo>
                  <a:cubicBezTo>
                    <a:pt x="1802091" y="1561666"/>
                    <a:pt x="2019527" y="1344325"/>
                    <a:pt x="2019527" y="1077018"/>
                  </a:cubicBezTo>
                  <a:close/>
                  <a:moveTo>
                    <a:pt x="1715268" y="1022778"/>
                  </a:moveTo>
                  <a:cubicBezTo>
                    <a:pt x="1720493" y="1039971"/>
                    <a:pt x="1723343" y="1058210"/>
                    <a:pt x="1723343" y="1077113"/>
                  </a:cubicBezTo>
                  <a:cubicBezTo>
                    <a:pt x="1723343" y="1094591"/>
                    <a:pt x="1720778" y="1111500"/>
                    <a:pt x="1716218" y="1127649"/>
                  </a:cubicBezTo>
                  <a:cubicBezTo>
                    <a:pt x="1781763" y="1147977"/>
                    <a:pt x="1854906" y="1179229"/>
                    <a:pt x="1907437" y="1226345"/>
                  </a:cubicBezTo>
                  <a:cubicBezTo>
                    <a:pt x="1907437" y="1226345"/>
                    <a:pt x="1925580" y="1120524"/>
                    <a:pt x="1888058" y="1064289"/>
                  </a:cubicBezTo>
                  <a:cubicBezTo>
                    <a:pt x="1858326" y="1019548"/>
                    <a:pt x="1787842" y="1012993"/>
                    <a:pt x="1715268" y="1022778"/>
                  </a:cubicBezTo>
                  <a:close/>
                  <a:moveTo>
                    <a:pt x="1700830" y="1166215"/>
                  </a:moveTo>
                  <a:cubicBezTo>
                    <a:pt x="1683921" y="1197563"/>
                    <a:pt x="1658368" y="1223495"/>
                    <a:pt x="1627401" y="1241069"/>
                  </a:cubicBezTo>
                  <a:cubicBezTo>
                    <a:pt x="1659318" y="1301769"/>
                    <a:pt x="1688956" y="1375577"/>
                    <a:pt x="1692755" y="1446061"/>
                  </a:cubicBezTo>
                  <a:cubicBezTo>
                    <a:pt x="1692755" y="1446061"/>
                    <a:pt x="1780338" y="1384032"/>
                    <a:pt x="1793637" y="1317822"/>
                  </a:cubicBezTo>
                  <a:cubicBezTo>
                    <a:pt x="1804276" y="1265197"/>
                    <a:pt x="1759059" y="1210671"/>
                    <a:pt x="1700830" y="1166215"/>
                  </a:cubicBezTo>
                  <a:close/>
                </a:path>
              </a:pathLst>
            </a:custGeom>
            <a:solidFill>
              <a:schemeClr val="accent2"/>
            </a:solidFill>
            <a:ln w="9499"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FFB9"/>
                </a:solidFill>
                <a:effectLst/>
                <a:uLnTx/>
                <a:uFillTx/>
                <a:latin typeface="Arial"/>
                <a:ea typeface="+mn-ea"/>
                <a:cs typeface="+mn-cs"/>
              </a:endParaRPr>
            </a:p>
          </p:txBody>
        </p:sp>
      </p:grpSp>
      <p:grpSp>
        <p:nvGrpSpPr>
          <p:cNvPr id="33" name="Gruppieren 32">
            <a:extLst>
              <a:ext uri="{FF2B5EF4-FFF2-40B4-BE49-F238E27FC236}">
                <a16:creationId xmlns:a16="http://schemas.microsoft.com/office/drawing/2014/main" id="{7722C1E9-3EA3-E244-9A59-5D0DD7AB3CF8}"/>
              </a:ext>
            </a:extLst>
          </p:cNvPr>
          <p:cNvGrpSpPr/>
          <p:nvPr/>
        </p:nvGrpSpPr>
        <p:grpSpPr>
          <a:xfrm>
            <a:off x="6203424" y="1875576"/>
            <a:ext cx="647534" cy="1348186"/>
            <a:chOff x="6203424" y="1875576"/>
            <a:chExt cx="647534" cy="1348186"/>
          </a:xfrm>
        </p:grpSpPr>
        <p:sp>
          <p:nvSpPr>
            <p:cNvPr id="105" name="Freeform 104">
              <a:extLst>
                <a:ext uri="{FF2B5EF4-FFF2-40B4-BE49-F238E27FC236}">
                  <a16:creationId xmlns:a16="http://schemas.microsoft.com/office/drawing/2014/main" id="{0C508DCE-E5DB-5C4E-9887-6A280EB588E5}"/>
                </a:ext>
              </a:extLst>
            </p:cNvPr>
            <p:cNvSpPr/>
            <p:nvPr/>
          </p:nvSpPr>
          <p:spPr bwMode="auto">
            <a:xfrm flipH="1" flipV="1">
              <a:off x="6203424" y="2344152"/>
              <a:ext cx="375439" cy="879610"/>
            </a:xfrm>
            <a:custGeom>
              <a:avLst/>
              <a:gdLst>
                <a:gd name="connsiteX0" fmla="*/ 404037 w 404037"/>
                <a:gd name="connsiteY0" fmla="*/ 0 h 1180214"/>
                <a:gd name="connsiteX1" fmla="*/ 0 w 404037"/>
                <a:gd name="connsiteY1" fmla="*/ 404037 h 1180214"/>
                <a:gd name="connsiteX2" fmla="*/ 0 w 404037"/>
                <a:gd name="connsiteY2" fmla="*/ 1180214 h 1180214"/>
                <a:gd name="connsiteX0" fmla="*/ 657699 w 657699"/>
                <a:gd name="connsiteY0" fmla="*/ 0 h 1433877"/>
                <a:gd name="connsiteX1" fmla="*/ 0 w 657699"/>
                <a:gd name="connsiteY1" fmla="*/ 657700 h 1433877"/>
                <a:gd name="connsiteX2" fmla="*/ 0 w 657699"/>
                <a:gd name="connsiteY2" fmla="*/ 1433877 h 1433877"/>
              </a:gdLst>
              <a:ahLst/>
              <a:cxnLst>
                <a:cxn ang="0">
                  <a:pos x="connsiteX0" y="connsiteY0"/>
                </a:cxn>
                <a:cxn ang="0">
                  <a:pos x="connsiteX1" y="connsiteY1"/>
                </a:cxn>
                <a:cxn ang="0">
                  <a:pos x="connsiteX2" y="connsiteY2"/>
                </a:cxn>
              </a:cxnLst>
              <a:rect l="l" t="t" r="r" b="b"/>
              <a:pathLst>
                <a:path w="657699" h="1433877">
                  <a:moveTo>
                    <a:pt x="657699" y="0"/>
                  </a:moveTo>
                  <a:lnTo>
                    <a:pt x="0" y="657700"/>
                  </a:lnTo>
                  <a:lnTo>
                    <a:pt x="0" y="1433877"/>
                  </a:lnTo>
                </a:path>
              </a:pathLst>
            </a:custGeom>
            <a:noFill/>
            <a:ln w="19050">
              <a:solidFill>
                <a:schemeClr val="accent2"/>
              </a:solidFill>
              <a:prstDash val="solid"/>
              <a:miter lim="800000"/>
              <a:headEnd/>
              <a:tailEnd/>
              <a:extLst>
                <a:ext uri="{C807C97D-BFC1-408E-A445-0C87EB9F89A2}">
                  <ask:lineSketchStyleProps xmlns:ask="http://schemas.microsoft.com/office/drawing/2018/sketchyshapes">
                    <ask:type>
                      <ask:lineSketchNone/>
                    </ask:type>
                  </ask:lineSketchStyleProps>
                </a:ext>
              </a:extLst>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lvl="0" indent="0" algn="l" defTabSz="913943" eaLnBrk="1" fontAlgn="base" latinLnBrk="0" hangingPunct="1">
                <a:lnSpc>
                  <a:spcPct val="100000"/>
                </a:lnSpc>
                <a:spcBef>
                  <a:spcPct val="50000"/>
                </a:spcBef>
                <a:spcAft>
                  <a:spcPct val="0"/>
                </a:spcAft>
                <a:buClrTx/>
                <a:buSzTx/>
                <a:buFontTx/>
                <a:buNone/>
                <a:tabLst/>
                <a:defRPr/>
              </a:pPr>
              <a:endParaRPr kumimoji="0" lang="en-US" sz="2399" b="0" i="0" u="none" strike="noStrike" kern="1200" cap="none" spc="0" normalizeH="0" baseline="0" noProof="0">
                <a:ln>
                  <a:noFill/>
                </a:ln>
                <a:solidFill>
                  <a:srgbClr val="00FFB9"/>
                </a:solidFill>
                <a:effectLst/>
                <a:uLnTx/>
                <a:uFillTx/>
                <a:latin typeface="Arial"/>
                <a:ea typeface="ヒラギノ角ゴ Pro W3" charset="0"/>
                <a:cs typeface="+mn-cs"/>
              </a:endParaRPr>
            </a:p>
          </p:txBody>
        </p:sp>
        <p:sp>
          <p:nvSpPr>
            <p:cNvPr id="15" name="Freihandform 14">
              <a:extLst>
                <a:ext uri="{FF2B5EF4-FFF2-40B4-BE49-F238E27FC236}">
                  <a16:creationId xmlns:a16="http://schemas.microsoft.com/office/drawing/2014/main" id="{029C35A0-2C6A-D647-B1A5-9800DF9C6DFA}"/>
                </a:ext>
              </a:extLst>
            </p:cNvPr>
            <p:cNvSpPr/>
            <p:nvPr/>
          </p:nvSpPr>
          <p:spPr>
            <a:xfrm>
              <a:off x="6306768" y="1875576"/>
              <a:ext cx="544190" cy="541475"/>
            </a:xfrm>
            <a:custGeom>
              <a:avLst/>
              <a:gdLst>
                <a:gd name="connsiteX0" fmla="*/ 1750225 w 1830968"/>
                <a:gd name="connsiteY0" fmla="*/ 834694 h 1830588"/>
                <a:gd name="connsiteX1" fmla="*/ 1830968 w 1830968"/>
                <a:gd name="connsiteY1" fmla="*/ 753951 h 1830588"/>
                <a:gd name="connsiteX2" fmla="*/ 1750225 w 1830968"/>
                <a:gd name="connsiteY2" fmla="*/ 673207 h 1830588"/>
                <a:gd name="connsiteX3" fmla="*/ 1615622 w 1830968"/>
                <a:gd name="connsiteY3" fmla="*/ 673207 h 1830588"/>
                <a:gd name="connsiteX4" fmla="*/ 1615622 w 1830968"/>
                <a:gd name="connsiteY4" fmla="*/ 511626 h 1830588"/>
                <a:gd name="connsiteX5" fmla="*/ 1750225 w 1830968"/>
                <a:gd name="connsiteY5" fmla="*/ 511626 h 1830588"/>
                <a:gd name="connsiteX6" fmla="*/ 1830968 w 1830968"/>
                <a:gd name="connsiteY6" fmla="*/ 430883 h 1830588"/>
                <a:gd name="connsiteX7" fmla="*/ 1750225 w 1830968"/>
                <a:gd name="connsiteY7" fmla="*/ 350140 h 1830588"/>
                <a:gd name="connsiteX8" fmla="*/ 1615622 w 1830968"/>
                <a:gd name="connsiteY8" fmla="*/ 350140 h 1830588"/>
                <a:gd name="connsiteX9" fmla="*/ 1615622 w 1830968"/>
                <a:gd name="connsiteY9" fmla="*/ 215537 h 1830588"/>
                <a:gd name="connsiteX10" fmla="*/ 1481018 w 1830968"/>
                <a:gd name="connsiteY10" fmla="*/ 215537 h 1830588"/>
                <a:gd name="connsiteX11" fmla="*/ 1481018 w 1830968"/>
                <a:gd name="connsiteY11" fmla="*/ 80743 h 1830588"/>
                <a:gd name="connsiteX12" fmla="*/ 1400275 w 1830968"/>
                <a:gd name="connsiteY12" fmla="*/ 0 h 1830588"/>
                <a:gd name="connsiteX13" fmla="*/ 1319532 w 1830968"/>
                <a:gd name="connsiteY13" fmla="*/ 80743 h 1830588"/>
                <a:gd name="connsiteX14" fmla="*/ 1319532 w 1830968"/>
                <a:gd name="connsiteY14" fmla="*/ 215347 h 1830588"/>
                <a:gd name="connsiteX15" fmla="*/ 1157951 w 1830968"/>
                <a:gd name="connsiteY15" fmla="*/ 215347 h 1830588"/>
                <a:gd name="connsiteX16" fmla="*/ 1157951 w 1830968"/>
                <a:gd name="connsiteY16" fmla="*/ 80743 h 1830588"/>
                <a:gd name="connsiteX17" fmla="*/ 1077208 w 1830968"/>
                <a:gd name="connsiteY17" fmla="*/ 0 h 1830588"/>
                <a:gd name="connsiteX18" fmla="*/ 996465 w 1830968"/>
                <a:gd name="connsiteY18" fmla="*/ 80743 h 1830588"/>
                <a:gd name="connsiteX19" fmla="*/ 996465 w 1830968"/>
                <a:gd name="connsiteY19" fmla="*/ 215347 h 1830588"/>
                <a:gd name="connsiteX20" fmla="*/ 834884 w 1830968"/>
                <a:gd name="connsiteY20" fmla="*/ 215347 h 1830588"/>
                <a:gd name="connsiteX21" fmla="*/ 834884 w 1830968"/>
                <a:gd name="connsiteY21" fmla="*/ 80743 h 1830588"/>
                <a:gd name="connsiteX22" fmla="*/ 754141 w 1830968"/>
                <a:gd name="connsiteY22" fmla="*/ 0 h 1830588"/>
                <a:gd name="connsiteX23" fmla="*/ 673397 w 1830968"/>
                <a:gd name="connsiteY23" fmla="*/ 80743 h 1830588"/>
                <a:gd name="connsiteX24" fmla="*/ 673397 w 1830968"/>
                <a:gd name="connsiteY24" fmla="*/ 215347 h 1830588"/>
                <a:gd name="connsiteX25" fmla="*/ 511816 w 1830968"/>
                <a:gd name="connsiteY25" fmla="*/ 215347 h 1830588"/>
                <a:gd name="connsiteX26" fmla="*/ 511816 w 1830968"/>
                <a:gd name="connsiteY26" fmla="*/ 80743 h 1830588"/>
                <a:gd name="connsiteX27" fmla="*/ 431073 w 1830968"/>
                <a:gd name="connsiteY27" fmla="*/ 0 h 1830588"/>
                <a:gd name="connsiteX28" fmla="*/ 350330 w 1830968"/>
                <a:gd name="connsiteY28" fmla="*/ 80743 h 1830588"/>
                <a:gd name="connsiteX29" fmla="*/ 350330 w 1830968"/>
                <a:gd name="connsiteY29" fmla="*/ 215347 h 1830588"/>
                <a:gd name="connsiteX30" fmla="*/ 215727 w 1830968"/>
                <a:gd name="connsiteY30" fmla="*/ 215347 h 1830588"/>
                <a:gd name="connsiteX31" fmla="*/ 215727 w 1830968"/>
                <a:gd name="connsiteY31" fmla="*/ 349950 h 1830588"/>
                <a:gd name="connsiteX32" fmla="*/ 80743 w 1830968"/>
                <a:gd name="connsiteY32" fmla="*/ 349950 h 1830588"/>
                <a:gd name="connsiteX33" fmla="*/ 0 w 1830968"/>
                <a:gd name="connsiteY33" fmla="*/ 430693 h 1830588"/>
                <a:gd name="connsiteX34" fmla="*/ 80743 w 1830968"/>
                <a:gd name="connsiteY34" fmla="*/ 511436 h 1830588"/>
                <a:gd name="connsiteX35" fmla="*/ 215347 w 1830968"/>
                <a:gd name="connsiteY35" fmla="*/ 511436 h 1830588"/>
                <a:gd name="connsiteX36" fmla="*/ 215347 w 1830968"/>
                <a:gd name="connsiteY36" fmla="*/ 673017 h 1830588"/>
                <a:gd name="connsiteX37" fmla="*/ 80743 w 1830968"/>
                <a:gd name="connsiteY37" fmla="*/ 673017 h 1830588"/>
                <a:gd name="connsiteX38" fmla="*/ 0 w 1830968"/>
                <a:gd name="connsiteY38" fmla="*/ 753761 h 1830588"/>
                <a:gd name="connsiteX39" fmla="*/ 80743 w 1830968"/>
                <a:gd name="connsiteY39" fmla="*/ 834504 h 1830588"/>
                <a:gd name="connsiteX40" fmla="*/ 215347 w 1830968"/>
                <a:gd name="connsiteY40" fmla="*/ 834504 h 1830588"/>
                <a:gd name="connsiteX41" fmla="*/ 215347 w 1830968"/>
                <a:gd name="connsiteY41" fmla="*/ 996085 h 1830588"/>
                <a:gd name="connsiteX42" fmla="*/ 80743 w 1830968"/>
                <a:gd name="connsiteY42" fmla="*/ 996085 h 1830588"/>
                <a:gd name="connsiteX43" fmla="*/ 0 w 1830968"/>
                <a:gd name="connsiteY43" fmla="*/ 1076828 h 1830588"/>
                <a:gd name="connsiteX44" fmla="*/ 80743 w 1830968"/>
                <a:gd name="connsiteY44" fmla="*/ 1157571 h 1830588"/>
                <a:gd name="connsiteX45" fmla="*/ 215347 w 1830968"/>
                <a:gd name="connsiteY45" fmla="*/ 1157571 h 1830588"/>
                <a:gd name="connsiteX46" fmla="*/ 215347 w 1830968"/>
                <a:gd name="connsiteY46" fmla="*/ 1319152 h 1830588"/>
                <a:gd name="connsiteX47" fmla="*/ 80743 w 1830968"/>
                <a:gd name="connsiteY47" fmla="*/ 1319152 h 1830588"/>
                <a:gd name="connsiteX48" fmla="*/ 0 w 1830968"/>
                <a:gd name="connsiteY48" fmla="*/ 1399895 h 1830588"/>
                <a:gd name="connsiteX49" fmla="*/ 80743 w 1830968"/>
                <a:gd name="connsiteY49" fmla="*/ 1480638 h 1830588"/>
                <a:gd name="connsiteX50" fmla="*/ 215347 w 1830968"/>
                <a:gd name="connsiteY50" fmla="*/ 1480638 h 1830588"/>
                <a:gd name="connsiteX51" fmla="*/ 215347 w 1830968"/>
                <a:gd name="connsiteY51" fmla="*/ 1615242 h 1830588"/>
                <a:gd name="connsiteX52" fmla="*/ 349950 w 1830968"/>
                <a:gd name="connsiteY52" fmla="*/ 1615242 h 1830588"/>
                <a:gd name="connsiteX53" fmla="*/ 349950 w 1830968"/>
                <a:gd name="connsiteY53" fmla="*/ 1749845 h 1830588"/>
                <a:gd name="connsiteX54" fmla="*/ 430693 w 1830968"/>
                <a:gd name="connsiteY54" fmla="*/ 1830588 h 1830588"/>
                <a:gd name="connsiteX55" fmla="*/ 511436 w 1830968"/>
                <a:gd name="connsiteY55" fmla="*/ 1749845 h 1830588"/>
                <a:gd name="connsiteX56" fmla="*/ 511436 w 1830968"/>
                <a:gd name="connsiteY56" fmla="*/ 1615242 h 1830588"/>
                <a:gd name="connsiteX57" fmla="*/ 673017 w 1830968"/>
                <a:gd name="connsiteY57" fmla="*/ 1615242 h 1830588"/>
                <a:gd name="connsiteX58" fmla="*/ 673017 w 1830968"/>
                <a:gd name="connsiteY58" fmla="*/ 1749845 h 1830588"/>
                <a:gd name="connsiteX59" fmla="*/ 753761 w 1830968"/>
                <a:gd name="connsiteY59" fmla="*/ 1830588 h 1830588"/>
                <a:gd name="connsiteX60" fmla="*/ 834504 w 1830968"/>
                <a:gd name="connsiteY60" fmla="*/ 1749845 h 1830588"/>
                <a:gd name="connsiteX61" fmla="*/ 834504 w 1830968"/>
                <a:gd name="connsiteY61" fmla="*/ 1615242 h 1830588"/>
                <a:gd name="connsiteX62" fmla="*/ 996085 w 1830968"/>
                <a:gd name="connsiteY62" fmla="*/ 1615242 h 1830588"/>
                <a:gd name="connsiteX63" fmla="*/ 996085 w 1830968"/>
                <a:gd name="connsiteY63" fmla="*/ 1749845 h 1830588"/>
                <a:gd name="connsiteX64" fmla="*/ 1076828 w 1830968"/>
                <a:gd name="connsiteY64" fmla="*/ 1830588 h 1830588"/>
                <a:gd name="connsiteX65" fmla="*/ 1157571 w 1830968"/>
                <a:gd name="connsiteY65" fmla="*/ 1749845 h 1830588"/>
                <a:gd name="connsiteX66" fmla="*/ 1157571 w 1830968"/>
                <a:gd name="connsiteY66" fmla="*/ 1615242 h 1830588"/>
                <a:gd name="connsiteX67" fmla="*/ 1319152 w 1830968"/>
                <a:gd name="connsiteY67" fmla="*/ 1615242 h 1830588"/>
                <a:gd name="connsiteX68" fmla="*/ 1319152 w 1830968"/>
                <a:gd name="connsiteY68" fmla="*/ 1749845 h 1830588"/>
                <a:gd name="connsiteX69" fmla="*/ 1399895 w 1830968"/>
                <a:gd name="connsiteY69" fmla="*/ 1830588 h 1830588"/>
                <a:gd name="connsiteX70" fmla="*/ 1480638 w 1830968"/>
                <a:gd name="connsiteY70" fmla="*/ 1749845 h 1830588"/>
                <a:gd name="connsiteX71" fmla="*/ 1480638 w 1830968"/>
                <a:gd name="connsiteY71" fmla="*/ 1615242 h 1830588"/>
                <a:gd name="connsiteX72" fmla="*/ 1615242 w 1830968"/>
                <a:gd name="connsiteY72" fmla="*/ 1615242 h 1830588"/>
                <a:gd name="connsiteX73" fmla="*/ 1615242 w 1830968"/>
                <a:gd name="connsiteY73" fmla="*/ 1480638 h 1830588"/>
                <a:gd name="connsiteX74" fmla="*/ 1749845 w 1830968"/>
                <a:gd name="connsiteY74" fmla="*/ 1480638 h 1830588"/>
                <a:gd name="connsiteX75" fmla="*/ 1830588 w 1830968"/>
                <a:gd name="connsiteY75" fmla="*/ 1399895 h 1830588"/>
                <a:gd name="connsiteX76" fmla="*/ 1749845 w 1830968"/>
                <a:gd name="connsiteY76" fmla="*/ 1319152 h 1830588"/>
                <a:gd name="connsiteX77" fmla="*/ 1615242 w 1830968"/>
                <a:gd name="connsiteY77" fmla="*/ 1319152 h 1830588"/>
                <a:gd name="connsiteX78" fmla="*/ 1615242 w 1830968"/>
                <a:gd name="connsiteY78" fmla="*/ 1157571 h 1830588"/>
                <a:gd name="connsiteX79" fmla="*/ 1749845 w 1830968"/>
                <a:gd name="connsiteY79" fmla="*/ 1157571 h 1830588"/>
                <a:gd name="connsiteX80" fmla="*/ 1830588 w 1830968"/>
                <a:gd name="connsiteY80" fmla="*/ 1076828 h 1830588"/>
                <a:gd name="connsiteX81" fmla="*/ 1749845 w 1830968"/>
                <a:gd name="connsiteY81" fmla="*/ 996085 h 1830588"/>
                <a:gd name="connsiteX82" fmla="*/ 1615242 w 1830968"/>
                <a:gd name="connsiteY82" fmla="*/ 996085 h 1830588"/>
                <a:gd name="connsiteX83" fmla="*/ 1615242 w 1830968"/>
                <a:gd name="connsiteY83" fmla="*/ 834504 h 1830588"/>
                <a:gd name="connsiteX84" fmla="*/ 1750225 w 1830968"/>
                <a:gd name="connsiteY84" fmla="*/ 834504 h 1830588"/>
                <a:gd name="connsiteX85" fmla="*/ 1453946 w 1830968"/>
                <a:gd name="connsiteY85" fmla="*/ 1454041 h 1830588"/>
                <a:gd name="connsiteX86" fmla="*/ 376928 w 1830968"/>
                <a:gd name="connsiteY86" fmla="*/ 1454041 h 1830588"/>
                <a:gd name="connsiteX87" fmla="*/ 376928 w 1830968"/>
                <a:gd name="connsiteY87" fmla="*/ 376928 h 1830588"/>
                <a:gd name="connsiteX88" fmla="*/ 1454041 w 1830968"/>
                <a:gd name="connsiteY88" fmla="*/ 376928 h 1830588"/>
                <a:gd name="connsiteX89" fmla="*/ 1454041 w 1830968"/>
                <a:gd name="connsiteY89" fmla="*/ 1454041 h 1830588"/>
                <a:gd name="connsiteX90" fmla="*/ 1292459 w 1830968"/>
                <a:gd name="connsiteY90" fmla="*/ 1292459 h 1830588"/>
                <a:gd name="connsiteX91" fmla="*/ 538509 w 1830968"/>
                <a:gd name="connsiteY91" fmla="*/ 1292459 h 1830588"/>
                <a:gd name="connsiteX92" fmla="*/ 538509 w 1830968"/>
                <a:gd name="connsiteY92" fmla="*/ 538509 h 1830588"/>
                <a:gd name="connsiteX93" fmla="*/ 1292459 w 1830968"/>
                <a:gd name="connsiteY93" fmla="*/ 538509 h 1830588"/>
                <a:gd name="connsiteX94" fmla="*/ 1292459 w 1830968"/>
                <a:gd name="connsiteY94" fmla="*/ 1292459 h 1830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830968" h="1830588">
                  <a:moveTo>
                    <a:pt x="1750225" y="834694"/>
                  </a:moveTo>
                  <a:cubicBezTo>
                    <a:pt x="1794871" y="834694"/>
                    <a:pt x="1830968" y="798502"/>
                    <a:pt x="1830968" y="753951"/>
                  </a:cubicBezTo>
                  <a:cubicBezTo>
                    <a:pt x="1830968" y="709304"/>
                    <a:pt x="1794777" y="673207"/>
                    <a:pt x="1750225" y="673207"/>
                  </a:cubicBezTo>
                  <a:lnTo>
                    <a:pt x="1615622" y="673207"/>
                  </a:lnTo>
                  <a:lnTo>
                    <a:pt x="1615622" y="511626"/>
                  </a:lnTo>
                  <a:lnTo>
                    <a:pt x="1750225" y="511626"/>
                  </a:lnTo>
                  <a:cubicBezTo>
                    <a:pt x="1794871" y="511626"/>
                    <a:pt x="1830968" y="475434"/>
                    <a:pt x="1830968" y="430883"/>
                  </a:cubicBezTo>
                  <a:cubicBezTo>
                    <a:pt x="1830968" y="386237"/>
                    <a:pt x="1794777" y="350140"/>
                    <a:pt x="1750225" y="350140"/>
                  </a:cubicBezTo>
                  <a:lnTo>
                    <a:pt x="1615622" y="350140"/>
                  </a:lnTo>
                  <a:lnTo>
                    <a:pt x="1615622" y="215537"/>
                  </a:lnTo>
                  <a:lnTo>
                    <a:pt x="1481018" y="215537"/>
                  </a:lnTo>
                  <a:lnTo>
                    <a:pt x="1481018" y="80743"/>
                  </a:lnTo>
                  <a:cubicBezTo>
                    <a:pt x="1481018" y="36097"/>
                    <a:pt x="1444826" y="0"/>
                    <a:pt x="1400275" y="0"/>
                  </a:cubicBezTo>
                  <a:cubicBezTo>
                    <a:pt x="1355629" y="0"/>
                    <a:pt x="1319532" y="36192"/>
                    <a:pt x="1319532" y="80743"/>
                  </a:cubicBezTo>
                  <a:lnTo>
                    <a:pt x="1319532" y="215347"/>
                  </a:lnTo>
                  <a:lnTo>
                    <a:pt x="1157951" y="215347"/>
                  </a:lnTo>
                  <a:lnTo>
                    <a:pt x="1157951" y="80743"/>
                  </a:lnTo>
                  <a:cubicBezTo>
                    <a:pt x="1157951" y="36097"/>
                    <a:pt x="1121759" y="0"/>
                    <a:pt x="1077208" y="0"/>
                  </a:cubicBezTo>
                  <a:cubicBezTo>
                    <a:pt x="1032562" y="0"/>
                    <a:pt x="996465" y="36192"/>
                    <a:pt x="996465" y="80743"/>
                  </a:cubicBezTo>
                  <a:lnTo>
                    <a:pt x="996465" y="215347"/>
                  </a:lnTo>
                  <a:lnTo>
                    <a:pt x="834884" y="215347"/>
                  </a:lnTo>
                  <a:lnTo>
                    <a:pt x="834884" y="80743"/>
                  </a:lnTo>
                  <a:cubicBezTo>
                    <a:pt x="834884" y="36097"/>
                    <a:pt x="798692" y="0"/>
                    <a:pt x="754141" y="0"/>
                  </a:cubicBezTo>
                  <a:cubicBezTo>
                    <a:pt x="709494" y="0"/>
                    <a:pt x="673397" y="36192"/>
                    <a:pt x="673397" y="80743"/>
                  </a:cubicBezTo>
                  <a:lnTo>
                    <a:pt x="673397" y="215347"/>
                  </a:lnTo>
                  <a:lnTo>
                    <a:pt x="511816" y="215347"/>
                  </a:lnTo>
                  <a:lnTo>
                    <a:pt x="511816" y="80743"/>
                  </a:lnTo>
                  <a:cubicBezTo>
                    <a:pt x="511816" y="36097"/>
                    <a:pt x="475624" y="0"/>
                    <a:pt x="431073" y="0"/>
                  </a:cubicBezTo>
                  <a:cubicBezTo>
                    <a:pt x="386427" y="0"/>
                    <a:pt x="350330" y="36192"/>
                    <a:pt x="350330" y="80743"/>
                  </a:cubicBezTo>
                  <a:lnTo>
                    <a:pt x="350330" y="215347"/>
                  </a:lnTo>
                  <a:lnTo>
                    <a:pt x="215727" y="215347"/>
                  </a:lnTo>
                  <a:lnTo>
                    <a:pt x="215727" y="349950"/>
                  </a:lnTo>
                  <a:lnTo>
                    <a:pt x="80743" y="349950"/>
                  </a:lnTo>
                  <a:cubicBezTo>
                    <a:pt x="36097" y="349950"/>
                    <a:pt x="0" y="386142"/>
                    <a:pt x="0" y="430693"/>
                  </a:cubicBezTo>
                  <a:cubicBezTo>
                    <a:pt x="0" y="475339"/>
                    <a:pt x="36192" y="511436"/>
                    <a:pt x="80743" y="511436"/>
                  </a:cubicBezTo>
                  <a:lnTo>
                    <a:pt x="215347" y="511436"/>
                  </a:lnTo>
                  <a:lnTo>
                    <a:pt x="215347" y="673017"/>
                  </a:lnTo>
                  <a:lnTo>
                    <a:pt x="80743" y="673017"/>
                  </a:lnTo>
                  <a:cubicBezTo>
                    <a:pt x="36097" y="673017"/>
                    <a:pt x="0" y="709209"/>
                    <a:pt x="0" y="753761"/>
                  </a:cubicBezTo>
                  <a:cubicBezTo>
                    <a:pt x="0" y="798407"/>
                    <a:pt x="36192" y="834504"/>
                    <a:pt x="80743" y="834504"/>
                  </a:cubicBezTo>
                  <a:lnTo>
                    <a:pt x="215347" y="834504"/>
                  </a:lnTo>
                  <a:lnTo>
                    <a:pt x="215347" y="996085"/>
                  </a:lnTo>
                  <a:lnTo>
                    <a:pt x="80743" y="996085"/>
                  </a:lnTo>
                  <a:cubicBezTo>
                    <a:pt x="36097" y="996085"/>
                    <a:pt x="0" y="1032277"/>
                    <a:pt x="0" y="1076828"/>
                  </a:cubicBezTo>
                  <a:cubicBezTo>
                    <a:pt x="0" y="1121474"/>
                    <a:pt x="36192" y="1157571"/>
                    <a:pt x="80743" y="1157571"/>
                  </a:cubicBezTo>
                  <a:lnTo>
                    <a:pt x="215347" y="1157571"/>
                  </a:lnTo>
                  <a:lnTo>
                    <a:pt x="215347" y="1319152"/>
                  </a:lnTo>
                  <a:lnTo>
                    <a:pt x="80743" y="1319152"/>
                  </a:lnTo>
                  <a:cubicBezTo>
                    <a:pt x="36097" y="1319152"/>
                    <a:pt x="0" y="1355344"/>
                    <a:pt x="0" y="1399895"/>
                  </a:cubicBezTo>
                  <a:cubicBezTo>
                    <a:pt x="0" y="1444541"/>
                    <a:pt x="36192" y="1480638"/>
                    <a:pt x="80743" y="1480638"/>
                  </a:cubicBezTo>
                  <a:lnTo>
                    <a:pt x="215347" y="1480638"/>
                  </a:lnTo>
                  <a:lnTo>
                    <a:pt x="215347" y="1615242"/>
                  </a:lnTo>
                  <a:lnTo>
                    <a:pt x="349950" y="1615242"/>
                  </a:lnTo>
                  <a:lnTo>
                    <a:pt x="349950" y="1749845"/>
                  </a:lnTo>
                  <a:cubicBezTo>
                    <a:pt x="349950" y="1794492"/>
                    <a:pt x="386142" y="1830588"/>
                    <a:pt x="430693" y="1830588"/>
                  </a:cubicBezTo>
                  <a:cubicBezTo>
                    <a:pt x="475339" y="1830588"/>
                    <a:pt x="511436" y="1794396"/>
                    <a:pt x="511436" y="1749845"/>
                  </a:cubicBezTo>
                  <a:lnTo>
                    <a:pt x="511436" y="1615242"/>
                  </a:lnTo>
                  <a:lnTo>
                    <a:pt x="673017" y="1615242"/>
                  </a:lnTo>
                  <a:lnTo>
                    <a:pt x="673017" y="1749845"/>
                  </a:lnTo>
                  <a:cubicBezTo>
                    <a:pt x="673017" y="1794492"/>
                    <a:pt x="709209" y="1830588"/>
                    <a:pt x="753761" y="1830588"/>
                  </a:cubicBezTo>
                  <a:cubicBezTo>
                    <a:pt x="798407" y="1830588"/>
                    <a:pt x="834504" y="1794396"/>
                    <a:pt x="834504" y="1749845"/>
                  </a:cubicBezTo>
                  <a:lnTo>
                    <a:pt x="834504" y="1615242"/>
                  </a:lnTo>
                  <a:lnTo>
                    <a:pt x="996085" y="1615242"/>
                  </a:lnTo>
                  <a:lnTo>
                    <a:pt x="996085" y="1749845"/>
                  </a:lnTo>
                  <a:cubicBezTo>
                    <a:pt x="996085" y="1794492"/>
                    <a:pt x="1032277" y="1830588"/>
                    <a:pt x="1076828" y="1830588"/>
                  </a:cubicBezTo>
                  <a:cubicBezTo>
                    <a:pt x="1121474" y="1830588"/>
                    <a:pt x="1157571" y="1794396"/>
                    <a:pt x="1157571" y="1749845"/>
                  </a:cubicBezTo>
                  <a:lnTo>
                    <a:pt x="1157571" y="1615242"/>
                  </a:lnTo>
                  <a:lnTo>
                    <a:pt x="1319152" y="1615242"/>
                  </a:lnTo>
                  <a:lnTo>
                    <a:pt x="1319152" y="1749845"/>
                  </a:lnTo>
                  <a:cubicBezTo>
                    <a:pt x="1319152" y="1794492"/>
                    <a:pt x="1355344" y="1830588"/>
                    <a:pt x="1399895" y="1830588"/>
                  </a:cubicBezTo>
                  <a:cubicBezTo>
                    <a:pt x="1444541" y="1830588"/>
                    <a:pt x="1480638" y="1794396"/>
                    <a:pt x="1480638" y="1749845"/>
                  </a:cubicBezTo>
                  <a:lnTo>
                    <a:pt x="1480638" y="1615242"/>
                  </a:lnTo>
                  <a:lnTo>
                    <a:pt x="1615242" y="1615242"/>
                  </a:lnTo>
                  <a:lnTo>
                    <a:pt x="1615242" y="1480638"/>
                  </a:lnTo>
                  <a:lnTo>
                    <a:pt x="1749845" y="1480638"/>
                  </a:lnTo>
                  <a:cubicBezTo>
                    <a:pt x="1794492" y="1480638"/>
                    <a:pt x="1830588" y="1444446"/>
                    <a:pt x="1830588" y="1399895"/>
                  </a:cubicBezTo>
                  <a:cubicBezTo>
                    <a:pt x="1830588" y="1355249"/>
                    <a:pt x="1794396" y="1319152"/>
                    <a:pt x="1749845" y="1319152"/>
                  </a:cubicBezTo>
                  <a:lnTo>
                    <a:pt x="1615242" y="1319152"/>
                  </a:lnTo>
                  <a:lnTo>
                    <a:pt x="1615242" y="1157571"/>
                  </a:lnTo>
                  <a:lnTo>
                    <a:pt x="1749845" y="1157571"/>
                  </a:lnTo>
                  <a:cubicBezTo>
                    <a:pt x="1794492" y="1157571"/>
                    <a:pt x="1830588" y="1121379"/>
                    <a:pt x="1830588" y="1076828"/>
                  </a:cubicBezTo>
                  <a:cubicBezTo>
                    <a:pt x="1830588" y="1032182"/>
                    <a:pt x="1794396" y="996085"/>
                    <a:pt x="1749845" y="996085"/>
                  </a:cubicBezTo>
                  <a:lnTo>
                    <a:pt x="1615242" y="996085"/>
                  </a:lnTo>
                  <a:lnTo>
                    <a:pt x="1615242" y="834504"/>
                  </a:lnTo>
                  <a:lnTo>
                    <a:pt x="1750225" y="834504"/>
                  </a:lnTo>
                  <a:close/>
                  <a:moveTo>
                    <a:pt x="1453946" y="1454041"/>
                  </a:moveTo>
                  <a:lnTo>
                    <a:pt x="376928" y="1454041"/>
                  </a:lnTo>
                  <a:lnTo>
                    <a:pt x="376928" y="376928"/>
                  </a:lnTo>
                  <a:lnTo>
                    <a:pt x="1454041" y="376928"/>
                  </a:lnTo>
                  <a:lnTo>
                    <a:pt x="1454041" y="1454041"/>
                  </a:lnTo>
                  <a:close/>
                  <a:moveTo>
                    <a:pt x="1292459" y="1292459"/>
                  </a:moveTo>
                  <a:lnTo>
                    <a:pt x="538509" y="1292459"/>
                  </a:lnTo>
                  <a:lnTo>
                    <a:pt x="538509" y="538509"/>
                  </a:lnTo>
                  <a:lnTo>
                    <a:pt x="1292459" y="538509"/>
                  </a:lnTo>
                  <a:lnTo>
                    <a:pt x="1292459" y="1292459"/>
                  </a:lnTo>
                  <a:close/>
                </a:path>
              </a:pathLst>
            </a:custGeom>
            <a:solidFill>
              <a:schemeClr val="accent2"/>
            </a:solidFill>
            <a:ln w="9499"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FFB9"/>
                </a:solidFill>
                <a:effectLst/>
                <a:uLnTx/>
                <a:uFillTx/>
                <a:latin typeface="Arial"/>
                <a:ea typeface="+mn-ea"/>
                <a:cs typeface="+mn-cs"/>
              </a:endParaRPr>
            </a:p>
          </p:txBody>
        </p:sp>
      </p:grpSp>
      <p:grpSp>
        <p:nvGrpSpPr>
          <p:cNvPr id="57" name="Gruppieren 56">
            <a:extLst>
              <a:ext uri="{FF2B5EF4-FFF2-40B4-BE49-F238E27FC236}">
                <a16:creationId xmlns:a16="http://schemas.microsoft.com/office/drawing/2014/main" id="{AC49E095-375A-6843-8101-1EEBA81D66C5}"/>
              </a:ext>
            </a:extLst>
          </p:cNvPr>
          <p:cNvGrpSpPr/>
          <p:nvPr/>
        </p:nvGrpSpPr>
        <p:grpSpPr>
          <a:xfrm>
            <a:off x="6469062" y="4344346"/>
            <a:ext cx="1891648" cy="463159"/>
            <a:chOff x="6469062" y="4344346"/>
            <a:chExt cx="1891648" cy="463159"/>
          </a:xfrm>
        </p:grpSpPr>
        <p:sp>
          <p:nvSpPr>
            <p:cNvPr id="116" name="Freeform 115">
              <a:extLst>
                <a:ext uri="{FF2B5EF4-FFF2-40B4-BE49-F238E27FC236}">
                  <a16:creationId xmlns:a16="http://schemas.microsoft.com/office/drawing/2014/main" id="{9DF52815-81FC-004F-A518-64615D4B411E}"/>
                </a:ext>
              </a:extLst>
            </p:cNvPr>
            <p:cNvSpPr/>
            <p:nvPr/>
          </p:nvSpPr>
          <p:spPr bwMode="auto">
            <a:xfrm>
              <a:off x="6469062" y="4344346"/>
              <a:ext cx="1300438" cy="369169"/>
            </a:xfrm>
            <a:custGeom>
              <a:avLst/>
              <a:gdLst>
                <a:gd name="connsiteX0" fmla="*/ 0 w 2993813"/>
                <a:gd name="connsiteY0" fmla="*/ 0 h 1266613"/>
                <a:gd name="connsiteX1" fmla="*/ 927946 w 2993813"/>
                <a:gd name="connsiteY1" fmla="*/ 927946 h 1266613"/>
                <a:gd name="connsiteX2" fmla="*/ 1754293 w 2993813"/>
                <a:gd name="connsiteY2" fmla="*/ 927946 h 1266613"/>
                <a:gd name="connsiteX3" fmla="*/ 2092960 w 2993813"/>
                <a:gd name="connsiteY3" fmla="*/ 1266613 h 1266613"/>
                <a:gd name="connsiteX4" fmla="*/ 2993813 w 2993813"/>
                <a:gd name="connsiteY4" fmla="*/ 1266613 h 1266613"/>
                <a:gd name="connsiteX0" fmla="*/ 0 w 2092960"/>
                <a:gd name="connsiteY0" fmla="*/ 0 h 1266613"/>
                <a:gd name="connsiteX1" fmla="*/ 927946 w 2092960"/>
                <a:gd name="connsiteY1" fmla="*/ 927946 h 1266613"/>
                <a:gd name="connsiteX2" fmla="*/ 1754293 w 2092960"/>
                <a:gd name="connsiteY2" fmla="*/ 927946 h 1266613"/>
                <a:gd name="connsiteX3" fmla="*/ 2092960 w 2092960"/>
                <a:gd name="connsiteY3" fmla="*/ 1266613 h 1266613"/>
                <a:gd name="connsiteX0" fmla="*/ 0 w 1754293"/>
                <a:gd name="connsiteY0" fmla="*/ 0 h 927946"/>
                <a:gd name="connsiteX1" fmla="*/ 927946 w 1754293"/>
                <a:gd name="connsiteY1" fmla="*/ 927946 h 927946"/>
                <a:gd name="connsiteX2" fmla="*/ 1754293 w 1754293"/>
                <a:gd name="connsiteY2" fmla="*/ 927946 h 927946"/>
                <a:gd name="connsiteX0" fmla="*/ 0 w 2568942"/>
                <a:gd name="connsiteY0" fmla="*/ 0 h 927946"/>
                <a:gd name="connsiteX1" fmla="*/ 927946 w 2568942"/>
                <a:gd name="connsiteY1" fmla="*/ 927946 h 927946"/>
                <a:gd name="connsiteX2" fmla="*/ 2568942 w 2568942"/>
                <a:gd name="connsiteY2" fmla="*/ 920505 h 927946"/>
                <a:gd name="connsiteX0" fmla="*/ 0 w 2542661"/>
                <a:gd name="connsiteY0" fmla="*/ 0 h 927946"/>
                <a:gd name="connsiteX1" fmla="*/ 927946 w 2542661"/>
                <a:gd name="connsiteY1" fmla="*/ 927946 h 927946"/>
                <a:gd name="connsiteX2" fmla="*/ 2542661 w 2542661"/>
                <a:gd name="connsiteY2" fmla="*/ 924277 h 927946"/>
                <a:gd name="connsiteX0" fmla="*/ 0 w 2255600"/>
                <a:gd name="connsiteY0" fmla="*/ 0 h 927946"/>
                <a:gd name="connsiteX1" fmla="*/ 927946 w 2255600"/>
                <a:gd name="connsiteY1" fmla="*/ 927946 h 927946"/>
                <a:gd name="connsiteX2" fmla="*/ 2255600 w 2255600"/>
                <a:gd name="connsiteY2" fmla="*/ 924277 h 927946"/>
                <a:gd name="connsiteX0" fmla="*/ 0 w 1872794"/>
                <a:gd name="connsiteY0" fmla="*/ 0 h 927946"/>
                <a:gd name="connsiteX1" fmla="*/ 927946 w 1872794"/>
                <a:gd name="connsiteY1" fmla="*/ 927946 h 927946"/>
                <a:gd name="connsiteX2" fmla="*/ 1872794 w 1872794"/>
                <a:gd name="connsiteY2" fmla="*/ 924277 h 927946"/>
                <a:gd name="connsiteX0" fmla="*/ 0 w 1657885"/>
                <a:gd name="connsiteY0" fmla="*/ 0 h 637774"/>
                <a:gd name="connsiteX1" fmla="*/ 713037 w 1657885"/>
                <a:gd name="connsiteY1" fmla="*/ 637774 h 637774"/>
                <a:gd name="connsiteX2" fmla="*/ 1657885 w 1657885"/>
                <a:gd name="connsiteY2" fmla="*/ 634105 h 637774"/>
                <a:gd name="connsiteX0" fmla="*/ 0 w 1657885"/>
                <a:gd name="connsiteY0" fmla="*/ 0 h 634105"/>
                <a:gd name="connsiteX1" fmla="*/ 639161 w 1657885"/>
                <a:gd name="connsiteY1" fmla="*/ 631026 h 634105"/>
                <a:gd name="connsiteX2" fmla="*/ 1657885 w 1657885"/>
                <a:gd name="connsiteY2" fmla="*/ 634105 h 634105"/>
                <a:gd name="connsiteX0" fmla="*/ 0 w 1657885"/>
                <a:gd name="connsiteY0" fmla="*/ 0 h 634799"/>
                <a:gd name="connsiteX1" fmla="*/ 1070915 w 1657885"/>
                <a:gd name="connsiteY1" fmla="*/ 634799 h 634799"/>
                <a:gd name="connsiteX2" fmla="*/ 1657885 w 1657885"/>
                <a:gd name="connsiteY2" fmla="*/ 634105 h 634799"/>
                <a:gd name="connsiteX0" fmla="*/ 0 w 828167"/>
                <a:gd name="connsiteY0" fmla="*/ 0 h 325461"/>
                <a:gd name="connsiteX1" fmla="*/ 241197 w 828167"/>
                <a:gd name="connsiteY1" fmla="*/ 325461 h 325461"/>
                <a:gd name="connsiteX2" fmla="*/ 828167 w 828167"/>
                <a:gd name="connsiteY2" fmla="*/ 324767 h 325461"/>
                <a:gd name="connsiteX0" fmla="*/ 0 w 828167"/>
                <a:gd name="connsiteY0" fmla="*/ 0 h 325461"/>
                <a:gd name="connsiteX1" fmla="*/ 36173 w 828167"/>
                <a:gd name="connsiteY1" fmla="*/ 64458 h 325461"/>
                <a:gd name="connsiteX2" fmla="*/ 241197 w 828167"/>
                <a:gd name="connsiteY2" fmla="*/ 325461 h 325461"/>
                <a:gd name="connsiteX3" fmla="*/ 828167 w 828167"/>
                <a:gd name="connsiteY3" fmla="*/ 324767 h 325461"/>
                <a:gd name="connsiteX0" fmla="*/ 0 w 1616587"/>
                <a:gd name="connsiteY0" fmla="*/ 0 h 510310"/>
                <a:gd name="connsiteX1" fmla="*/ 824593 w 1616587"/>
                <a:gd name="connsiteY1" fmla="*/ 249307 h 510310"/>
                <a:gd name="connsiteX2" fmla="*/ 1029617 w 1616587"/>
                <a:gd name="connsiteY2" fmla="*/ 510310 h 510310"/>
                <a:gd name="connsiteX3" fmla="*/ 1616587 w 1616587"/>
                <a:gd name="connsiteY3" fmla="*/ 509616 h 510310"/>
                <a:gd name="connsiteX0" fmla="*/ 0 w 1616587"/>
                <a:gd name="connsiteY0" fmla="*/ 0 h 510310"/>
                <a:gd name="connsiteX1" fmla="*/ 696944 w 1616587"/>
                <a:gd name="connsiteY1" fmla="*/ 64458 h 510310"/>
                <a:gd name="connsiteX2" fmla="*/ 1029617 w 1616587"/>
                <a:gd name="connsiteY2" fmla="*/ 510310 h 510310"/>
                <a:gd name="connsiteX3" fmla="*/ 1616587 w 1616587"/>
                <a:gd name="connsiteY3" fmla="*/ 509616 h 510310"/>
                <a:gd name="connsiteX0" fmla="*/ 0 w 1609078"/>
                <a:gd name="connsiteY0" fmla="*/ 0 h 446179"/>
                <a:gd name="connsiteX1" fmla="*/ 689435 w 1609078"/>
                <a:gd name="connsiteY1" fmla="*/ 327 h 446179"/>
                <a:gd name="connsiteX2" fmla="*/ 1022108 w 1609078"/>
                <a:gd name="connsiteY2" fmla="*/ 446179 h 446179"/>
                <a:gd name="connsiteX3" fmla="*/ 1609078 w 1609078"/>
                <a:gd name="connsiteY3" fmla="*/ 445485 h 446179"/>
                <a:gd name="connsiteX0" fmla="*/ 0 w 1609078"/>
                <a:gd name="connsiteY0" fmla="*/ 0 h 446179"/>
                <a:gd name="connsiteX1" fmla="*/ 543015 w 1609078"/>
                <a:gd name="connsiteY1" fmla="*/ 4099 h 446179"/>
                <a:gd name="connsiteX2" fmla="*/ 1022108 w 1609078"/>
                <a:gd name="connsiteY2" fmla="*/ 446179 h 446179"/>
                <a:gd name="connsiteX3" fmla="*/ 1609078 w 1609078"/>
                <a:gd name="connsiteY3" fmla="*/ 445485 h 446179"/>
                <a:gd name="connsiteX0" fmla="*/ 0 w 1609078"/>
                <a:gd name="connsiteY0" fmla="*/ 3446 h 449625"/>
                <a:gd name="connsiteX1" fmla="*/ 512980 w 1609078"/>
                <a:gd name="connsiteY1" fmla="*/ 0 h 449625"/>
                <a:gd name="connsiteX2" fmla="*/ 1022108 w 1609078"/>
                <a:gd name="connsiteY2" fmla="*/ 449625 h 449625"/>
                <a:gd name="connsiteX3" fmla="*/ 1609078 w 1609078"/>
                <a:gd name="connsiteY3" fmla="*/ 448931 h 449625"/>
                <a:gd name="connsiteX0" fmla="*/ 0 w 1609078"/>
                <a:gd name="connsiteY0" fmla="*/ 0 h 446179"/>
                <a:gd name="connsiteX1" fmla="*/ 445401 w 1609078"/>
                <a:gd name="connsiteY1" fmla="*/ 326 h 446179"/>
                <a:gd name="connsiteX2" fmla="*/ 1022108 w 1609078"/>
                <a:gd name="connsiteY2" fmla="*/ 446179 h 446179"/>
                <a:gd name="connsiteX3" fmla="*/ 1609078 w 1609078"/>
                <a:gd name="connsiteY3" fmla="*/ 445485 h 446179"/>
                <a:gd name="connsiteX0" fmla="*/ 0 w 1609078"/>
                <a:gd name="connsiteY0" fmla="*/ 0 h 446179"/>
                <a:gd name="connsiteX1" fmla="*/ 407857 w 1609078"/>
                <a:gd name="connsiteY1" fmla="*/ 326 h 446179"/>
                <a:gd name="connsiteX2" fmla="*/ 1022108 w 1609078"/>
                <a:gd name="connsiteY2" fmla="*/ 446179 h 446179"/>
                <a:gd name="connsiteX3" fmla="*/ 1609078 w 1609078"/>
                <a:gd name="connsiteY3" fmla="*/ 445485 h 446179"/>
                <a:gd name="connsiteX0" fmla="*/ 0 w 1609078"/>
                <a:gd name="connsiteY0" fmla="*/ 0 h 446179"/>
                <a:gd name="connsiteX1" fmla="*/ 554278 w 1609078"/>
                <a:gd name="connsiteY1" fmla="*/ 7870 h 446179"/>
                <a:gd name="connsiteX2" fmla="*/ 1022108 w 1609078"/>
                <a:gd name="connsiteY2" fmla="*/ 446179 h 446179"/>
                <a:gd name="connsiteX3" fmla="*/ 1609078 w 1609078"/>
                <a:gd name="connsiteY3" fmla="*/ 445485 h 446179"/>
                <a:gd name="connsiteX0" fmla="*/ 0 w 1609078"/>
                <a:gd name="connsiteY0" fmla="*/ 0 h 446179"/>
                <a:gd name="connsiteX1" fmla="*/ 580559 w 1609078"/>
                <a:gd name="connsiteY1" fmla="*/ 7870 h 446179"/>
                <a:gd name="connsiteX2" fmla="*/ 1022108 w 1609078"/>
                <a:gd name="connsiteY2" fmla="*/ 446179 h 446179"/>
                <a:gd name="connsiteX3" fmla="*/ 1609078 w 1609078"/>
                <a:gd name="connsiteY3" fmla="*/ 445485 h 446179"/>
                <a:gd name="connsiteX0" fmla="*/ 0 w 1609078"/>
                <a:gd name="connsiteY0" fmla="*/ 0 h 446179"/>
                <a:gd name="connsiteX1" fmla="*/ 599330 w 1609078"/>
                <a:gd name="connsiteY1" fmla="*/ 4098 h 446179"/>
                <a:gd name="connsiteX2" fmla="*/ 1022108 w 1609078"/>
                <a:gd name="connsiteY2" fmla="*/ 446179 h 446179"/>
                <a:gd name="connsiteX3" fmla="*/ 1609078 w 1609078"/>
                <a:gd name="connsiteY3" fmla="*/ 445485 h 446179"/>
                <a:gd name="connsiteX0" fmla="*/ 0 w 1609078"/>
                <a:gd name="connsiteY0" fmla="*/ 0 h 446179"/>
                <a:gd name="connsiteX1" fmla="*/ 625611 w 1609078"/>
                <a:gd name="connsiteY1" fmla="*/ 4098 h 446179"/>
                <a:gd name="connsiteX2" fmla="*/ 1022108 w 1609078"/>
                <a:gd name="connsiteY2" fmla="*/ 446179 h 446179"/>
                <a:gd name="connsiteX3" fmla="*/ 1609078 w 1609078"/>
                <a:gd name="connsiteY3" fmla="*/ 445485 h 446179"/>
                <a:gd name="connsiteX0" fmla="*/ 0 w 1609078"/>
                <a:gd name="connsiteY0" fmla="*/ 0 h 446179"/>
                <a:gd name="connsiteX1" fmla="*/ 603085 w 1609078"/>
                <a:gd name="connsiteY1" fmla="*/ 7870 h 446179"/>
                <a:gd name="connsiteX2" fmla="*/ 1022108 w 1609078"/>
                <a:gd name="connsiteY2" fmla="*/ 446179 h 446179"/>
                <a:gd name="connsiteX3" fmla="*/ 1609078 w 1609078"/>
                <a:gd name="connsiteY3" fmla="*/ 445485 h 446179"/>
                <a:gd name="connsiteX0" fmla="*/ 0 w 1609078"/>
                <a:gd name="connsiteY0" fmla="*/ 0 h 446179"/>
                <a:gd name="connsiteX1" fmla="*/ 618102 w 1609078"/>
                <a:gd name="connsiteY1" fmla="*/ 7870 h 446179"/>
                <a:gd name="connsiteX2" fmla="*/ 1022108 w 1609078"/>
                <a:gd name="connsiteY2" fmla="*/ 446179 h 446179"/>
                <a:gd name="connsiteX3" fmla="*/ 1609078 w 1609078"/>
                <a:gd name="connsiteY3" fmla="*/ 445485 h 446179"/>
                <a:gd name="connsiteX0" fmla="*/ 0 w 1507710"/>
                <a:gd name="connsiteY0" fmla="*/ 0 h 446179"/>
                <a:gd name="connsiteX1" fmla="*/ 618102 w 1507710"/>
                <a:gd name="connsiteY1" fmla="*/ 7870 h 446179"/>
                <a:gd name="connsiteX2" fmla="*/ 1022108 w 1507710"/>
                <a:gd name="connsiteY2" fmla="*/ 446179 h 446179"/>
                <a:gd name="connsiteX3" fmla="*/ 1507710 w 1507710"/>
                <a:gd name="connsiteY3" fmla="*/ 445485 h 446179"/>
                <a:gd name="connsiteX0" fmla="*/ 0 w 1507710"/>
                <a:gd name="connsiteY0" fmla="*/ 0 h 446179"/>
                <a:gd name="connsiteX1" fmla="*/ 389085 w 1507710"/>
                <a:gd name="connsiteY1" fmla="*/ 7870 h 446179"/>
                <a:gd name="connsiteX2" fmla="*/ 1022108 w 1507710"/>
                <a:gd name="connsiteY2" fmla="*/ 446179 h 446179"/>
                <a:gd name="connsiteX3" fmla="*/ 1507710 w 1507710"/>
                <a:gd name="connsiteY3" fmla="*/ 445485 h 446179"/>
                <a:gd name="connsiteX0" fmla="*/ 0 w 1507710"/>
                <a:gd name="connsiteY0" fmla="*/ 0 h 445485"/>
                <a:gd name="connsiteX1" fmla="*/ 389085 w 1507710"/>
                <a:gd name="connsiteY1" fmla="*/ 7870 h 445485"/>
                <a:gd name="connsiteX2" fmla="*/ 830635 w 1507710"/>
                <a:gd name="connsiteY2" fmla="*/ 427317 h 445485"/>
                <a:gd name="connsiteX3" fmla="*/ 1507710 w 1507710"/>
                <a:gd name="connsiteY3" fmla="*/ 445485 h 445485"/>
                <a:gd name="connsiteX0" fmla="*/ 0 w 1507710"/>
                <a:gd name="connsiteY0" fmla="*/ 0 h 445485"/>
                <a:gd name="connsiteX1" fmla="*/ 389085 w 1507710"/>
                <a:gd name="connsiteY1" fmla="*/ 7870 h 445485"/>
                <a:gd name="connsiteX2" fmla="*/ 811863 w 1507710"/>
                <a:gd name="connsiteY2" fmla="*/ 442406 h 445485"/>
                <a:gd name="connsiteX3" fmla="*/ 1507710 w 1507710"/>
                <a:gd name="connsiteY3" fmla="*/ 445485 h 445485"/>
                <a:gd name="connsiteX0" fmla="*/ 0 w 1507710"/>
                <a:gd name="connsiteY0" fmla="*/ 0 h 445485"/>
                <a:gd name="connsiteX1" fmla="*/ 389085 w 1507710"/>
                <a:gd name="connsiteY1" fmla="*/ 7870 h 445485"/>
                <a:gd name="connsiteX2" fmla="*/ 804354 w 1507710"/>
                <a:gd name="connsiteY2" fmla="*/ 442406 h 445485"/>
                <a:gd name="connsiteX3" fmla="*/ 1507710 w 1507710"/>
                <a:gd name="connsiteY3" fmla="*/ 445485 h 445485"/>
                <a:gd name="connsiteX0" fmla="*/ 0 w 1507710"/>
                <a:gd name="connsiteY0" fmla="*/ 0 h 446179"/>
                <a:gd name="connsiteX1" fmla="*/ 389085 w 1507710"/>
                <a:gd name="connsiteY1" fmla="*/ 7870 h 446179"/>
                <a:gd name="connsiteX2" fmla="*/ 826880 w 1507710"/>
                <a:gd name="connsiteY2" fmla="*/ 446179 h 446179"/>
                <a:gd name="connsiteX3" fmla="*/ 1507710 w 1507710"/>
                <a:gd name="connsiteY3" fmla="*/ 445485 h 446179"/>
                <a:gd name="connsiteX0" fmla="*/ 0 w 1537745"/>
                <a:gd name="connsiteY0" fmla="*/ 0 h 438634"/>
                <a:gd name="connsiteX1" fmla="*/ 419120 w 1537745"/>
                <a:gd name="connsiteY1" fmla="*/ 325 h 438634"/>
                <a:gd name="connsiteX2" fmla="*/ 856915 w 1537745"/>
                <a:gd name="connsiteY2" fmla="*/ 438634 h 438634"/>
                <a:gd name="connsiteX3" fmla="*/ 1537745 w 1537745"/>
                <a:gd name="connsiteY3" fmla="*/ 437940 h 438634"/>
              </a:gdLst>
              <a:ahLst/>
              <a:cxnLst>
                <a:cxn ang="0">
                  <a:pos x="connsiteX0" y="connsiteY0"/>
                </a:cxn>
                <a:cxn ang="0">
                  <a:pos x="connsiteX1" y="connsiteY1"/>
                </a:cxn>
                <a:cxn ang="0">
                  <a:pos x="connsiteX2" y="connsiteY2"/>
                </a:cxn>
                <a:cxn ang="0">
                  <a:pos x="connsiteX3" y="connsiteY3"/>
                </a:cxn>
              </a:cxnLst>
              <a:rect l="l" t="t" r="r" b="b"/>
              <a:pathLst>
                <a:path w="1537745" h="438634">
                  <a:moveTo>
                    <a:pt x="0" y="0"/>
                  </a:moveTo>
                  <a:lnTo>
                    <a:pt x="419120" y="325"/>
                  </a:lnTo>
                  <a:lnTo>
                    <a:pt x="856915" y="438634"/>
                  </a:lnTo>
                  <a:lnTo>
                    <a:pt x="1537745" y="437940"/>
                  </a:lnTo>
                </a:path>
              </a:pathLst>
            </a:custGeom>
            <a:noFill/>
            <a:ln w="19050">
              <a:solidFill>
                <a:schemeClr val="accent2"/>
              </a:solidFill>
              <a:prstDash val="solid"/>
              <a:miter lim="800000"/>
              <a:headEnd/>
              <a:tailEnd/>
              <a:extLst>
                <a:ext uri="{C807C97D-BFC1-408E-A445-0C87EB9F89A2}">
                  <ask:lineSketchStyleProps xmlns:ask="http://schemas.microsoft.com/office/drawing/2018/sketchyshapes">
                    <ask:type>
                      <ask:lineSketchNone/>
                    </ask:type>
                  </ask:lineSketchStyleProps>
                </a:ext>
              </a:extLst>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lvl="0" indent="0" algn="l" defTabSz="913943" eaLnBrk="1" fontAlgn="base" latinLnBrk="0" hangingPunct="1">
                <a:lnSpc>
                  <a:spcPct val="100000"/>
                </a:lnSpc>
                <a:spcBef>
                  <a:spcPct val="50000"/>
                </a:spcBef>
                <a:spcAft>
                  <a:spcPct val="0"/>
                </a:spcAft>
                <a:buClrTx/>
                <a:buSzTx/>
                <a:buFontTx/>
                <a:buNone/>
                <a:tabLst/>
                <a:defRPr/>
              </a:pPr>
              <a:endParaRPr kumimoji="0" lang="en-US" sz="2399" b="0" i="0" u="none" strike="noStrike" kern="1200" cap="none" spc="0" normalizeH="0" baseline="0" noProof="0">
                <a:ln>
                  <a:noFill/>
                </a:ln>
                <a:solidFill>
                  <a:srgbClr val="00FFB9"/>
                </a:solidFill>
                <a:effectLst/>
                <a:uLnTx/>
                <a:uFillTx/>
                <a:latin typeface="Arial"/>
                <a:ea typeface="ヒラギノ角ゴ Pro W3" charset="0"/>
                <a:cs typeface="+mn-cs"/>
              </a:endParaRPr>
            </a:p>
          </p:txBody>
        </p:sp>
        <p:sp>
          <p:nvSpPr>
            <p:cNvPr id="21" name="Freihandform 20">
              <a:extLst>
                <a:ext uri="{FF2B5EF4-FFF2-40B4-BE49-F238E27FC236}">
                  <a16:creationId xmlns:a16="http://schemas.microsoft.com/office/drawing/2014/main" id="{6A036535-75C9-1144-896D-CB8948263729}"/>
                </a:ext>
              </a:extLst>
            </p:cNvPr>
            <p:cNvSpPr/>
            <p:nvPr/>
          </p:nvSpPr>
          <p:spPr>
            <a:xfrm flipH="1">
              <a:off x="7662793" y="4390029"/>
              <a:ext cx="697917" cy="417476"/>
            </a:xfrm>
            <a:custGeom>
              <a:avLst/>
              <a:gdLst>
                <a:gd name="connsiteX0" fmla="*/ 2520609 w 2531032"/>
                <a:gd name="connsiteY0" fmla="*/ 195090 h 1521272"/>
                <a:gd name="connsiteX1" fmla="*/ 2187568 w 2531032"/>
                <a:gd name="connsiteY1" fmla="*/ 10521 h 1521272"/>
                <a:gd name="connsiteX2" fmla="*/ 789762 w 2531032"/>
                <a:gd name="connsiteY2" fmla="*/ 411292 h 1521272"/>
                <a:gd name="connsiteX3" fmla="*/ 633216 w 2531032"/>
                <a:gd name="connsiteY3" fmla="*/ 531552 h 1521272"/>
                <a:gd name="connsiteX4" fmla="*/ 241279 w 2531032"/>
                <a:gd name="connsiteY4" fmla="*/ 401318 h 1521272"/>
                <a:gd name="connsiteX5" fmla="*/ 10924 w 2531032"/>
                <a:gd name="connsiteY5" fmla="*/ 705672 h 1521272"/>
                <a:gd name="connsiteX6" fmla="*/ 21373 w 2531032"/>
                <a:gd name="connsiteY6" fmla="*/ 781095 h 1521272"/>
                <a:gd name="connsiteX7" fmla="*/ 96796 w 2531032"/>
                <a:gd name="connsiteY7" fmla="*/ 770646 h 1521272"/>
                <a:gd name="connsiteX8" fmla="*/ 280606 w 2531032"/>
                <a:gd name="connsiteY8" fmla="*/ 527847 h 1521272"/>
                <a:gd name="connsiteX9" fmla="*/ 396211 w 2531032"/>
                <a:gd name="connsiteY9" fmla="*/ 566224 h 1521272"/>
                <a:gd name="connsiteX10" fmla="*/ 530149 w 2531032"/>
                <a:gd name="connsiteY10" fmla="*/ 998912 h 1521272"/>
                <a:gd name="connsiteX11" fmla="*/ 453776 w 2531032"/>
                <a:gd name="connsiteY11" fmla="*/ 1099793 h 1521272"/>
                <a:gd name="connsiteX12" fmla="*/ 164811 w 2531032"/>
                <a:gd name="connsiteY12" fmla="*/ 1003851 h 1521272"/>
                <a:gd name="connsiteX13" fmla="*/ 96701 w 2531032"/>
                <a:gd name="connsiteY13" fmla="*/ 1037953 h 1521272"/>
                <a:gd name="connsiteX14" fmla="*/ 130804 w 2531032"/>
                <a:gd name="connsiteY14" fmla="*/ 1106063 h 1521272"/>
                <a:gd name="connsiteX15" fmla="*/ 493103 w 2531032"/>
                <a:gd name="connsiteY15" fmla="*/ 1226322 h 1521272"/>
                <a:gd name="connsiteX16" fmla="*/ 493672 w 2531032"/>
                <a:gd name="connsiteY16" fmla="*/ 1225657 h 1521272"/>
                <a:gd name="connsiteX17" fmla="*/ 647749 w 2531032"/>
                <a:gd name="connsiteY17" fmla="*/ 1021995 h 1521272"/>
                <a:gd name="connsiteX18" fmla="*/ 735142 w 2531032"/>
                <a:gd name="connsiteY18" fmla="*/ 906485 h 1521272"/>
                <a:gd name="connsiteX19" fmla="*/ 938234 w 2531032"/>
                <a:gd name="connsiteY19" fmla="*/ 928903 h 1521272"/>
                <a:gd name="connsiteX20" fmla="*/ 1905252 w 2531032"/>
                <a:gd name="connsiteY20" fmla="*/ 651621 h 1521272"/>
                <a:gd name="connsiteX21" fmla="*/ 1720397 w 2531032"/>
                <a:gd name="connsiteY21" fmla="*/ 1521272 h 1521272"/>
                <a:gd name="connsiteX22" fmla="*/ 2270971 w 2531032"/>
                <a:gd name="connsiteY22" fmla="*/ 1521272 h 1521272"/>
                <a:gd name="connsiteX23" fmla="*/ 2524694 w 2531032"/>
                <a:gd name="connsiteY23" fmla="*/ 327509 h 1521272"/>
                <a:gd name="connsiteX24" fmla="*/ 2524789 w 2531032"/>
                <a:gd name="connsiteY24" fmla="*/ 327129 h 1521272"/>
                <a:gd name="connsiteX25" fmla="*/ 2525169 w 2531032"/>
                <a:gd name="connsiteY25" fmla="*/ 325514 h 1521272"/>
                <a:gd name="connsiteX26" fmla="*/ 2525169 w 2531032"/>
                <a:gd name="connsiteY26" fmla="*/ 325514 h 1521272"/>
                <a:gd name="connsiteX27" fmla="*/ 2520609 w 2531032"/>
                <a:gd name="connsiteY27" fmla="*/ 195090 h 1521272"/>
                <a:gd name="connsiteX28" fmla="*/ 908502 w 2531032"/>
                <a:gd name="connsiteY28" fmla="*/ 825362 h 1521272"/>
                <a:gd name="connsiteX29" fmla="*/ 708639 w 2531032"/>
                <a:gd name="connsiteY29" fmla="*/ 714601 h 1521272"/>
                <a:gd name="connsiteX30" fmla="*/ 819400 w 2531032"/>
                <a:gd name="connsiteY30" fmla="*/ 514738 h 1521272"/>
                <a:gd name="connsiteX31" fmla="*/ 1019262 w 2531032"/>
                <a:gd name="connsiteY31" fmla="*/ 625499 h 1521272"/>
                <a:gd name="connsiteX32" fmla="*/ 908502 w 2531032"/>
                <a:gd name="connsiteY32" fmla="*/ 825362 h 1521272"/>
                <a:gd name="connsiteX33" fmla="*/ 2306212 w 2531032"/>
                <a:gd name="connsiteY33" fmla="*/ 424591 h 1521272"/>
                <a:gd name="connsiteX34" fmla="*/ 2106349 w 2531032"/>
                <a:gd name="connsiteY34" fmla="*/ 313830 h 1521272"/>
                <a:gd name="connsiteX35" fmla="*/ 2217110 w 2531032"/>
                <a:gd name="connsiteY35" fmla="*/ 113967 h 1521272"/>
                <a:gd name="connsiteX36" fmla="*/ 2416973 w 2531032"/>
                <a:gd name="connsiteY36" fmla="*/ 224728 h 1521272"/>
                <a:gd name="connsiteX37" fmla="*/ 2306212 w 2531032"/>
                <a:gd name="connsiteY37" fmla="*/ 424591 h 152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31032" h="1521272">
                  <a:moveTo>
                    <a:pt x="2520609" y="195090"/>
                  </a:moveTo>
                  <a:cubicBezTo>
                    <a:pt x="2479573" y="52128"/>
                    <a:pt x="2330530" y="-30515"/>
                    <a:pt x="2187568" y="10521"/>
                  </a:cubicBezTo>
                  <a:lnTo>
                    <a:pt x="789762" y="411292"/>
                  </a:lnTo>
                  <a:cubicBezTo>
                    <a:pt x="721463" y="430860"/>
                    <a:pt x="667033" y="475127"/>
                    <a:pt x="633216" y="531552"/>
                  </a:cubicBezTo>
                  <a:lnTo>
                    <a:pt x="241279" y="401318"/>
                  </a:lnTo>
                  <a:lnTo>
                    <a:pt x="10924" y="705672"/>
                  </a:lnTo>
                  <a:cubicBezTo>
                    <a:pt x="-7030" y="729420"/>
                    <a:pt x="-2375" y="763142"/>
                    <a:pt x="21373" y="781095"/>
                  </a:cubicBezTo>
                  <a:cubicBezTo>
                    <a:pt x="45121" y="799049"/>
                    <a:pt x="78843" y="794394"/>
                    <a:pt x="96796" y="770646"/>
                  </a:cubicBezTo>
                  <a:lnTo>
                    <a:pt x="280606" y="527847"/>
                  </a:lnTo>
                  <a:lnTo>
                    <a:pt x="396211" y="566224"/>
                  </a:lnTo>
                  <a:lnTo>
                    <a:pt x="530149" y="998912"/>
                  </a:lnTo>
                  <a:lnTo>
                    <a:pt x="453776" y="1099793"/>
                  </a:lnTo>
                  <a:lnTo>
                    <a:pt x="164811" y="1003851"/>
                  </a:lnTo>
                  <a:cubicBezTo>
                    <a:pt x="136598" y="994447"/>
                    <a:pt x="106106" y="1009741"/>
                    <a:pt x="96701" y="1037953"/>
                  </a:cubicBezTo>
                  <a:cubicBezTo>
                    <a:pt x="87297" y="1066166"/>
                    <a:pt x="102591" y="1096658"/>
                    <a:pt x="130804" y="1106063"/>
                  </a:cubicBezTo>
                  <a:lnTo>
                    <a:pt x="493103" y="1226322"/>
                  </a:lnTo>
                  <a:cubicBezTo>
                    <a:pt x="493103" y="1226322"/>
                    <a:pt x="493292" y="1226037"/>
                    <a:pt x="493672" y="1225657"/>
                  </a:cubicBezTo>
                  <a:lnTo>
                    <a:pt x="647749" y="1021995"/>
                  </a:lnTo>
                  <a:cubicBezTo>
                    <a:pt x="678147" y="981813"/>
                    <a:pt x="708829" y="941252"/>
                    <a:pt x="735142" y="906485"/>
                  </a:cubicBezTo>
                  <a:cubicBezTo>
                    <a:pt x="795082" y="939162"/>
                    <a:pt x="867370" y="949231"/>
                    <a:pt x="938234" y="928903"/>
                  </a:cubicBezTo>
                  <a:lnTo>
                    <a:pt x="1905252" y="651621"/>
                  </a:lnTo>
                  <a:lnTo>
                    <a:pt x="1720397" y="1521272"/>
                  </a:lnTo>
                  <a:lnTo>
                    <a:pt x="2270971" y="1521272"/>
                  </a:lnTo>
                  <a:lnTo>
                    <a:pt x="2524694" y="327509"/>
                  </a:lnTo>
                  <a:cubicBezTo>
                    <a:pt x="2524694" y="327414"/>
                    <a:pt x="2524789" y="327224"/>
                    <a:pt x="2524789" y="327129"/>
                  </a:cubicBezTo>
                  <a:lnTo>
                    <a:pt x="2525169" y="325514"/>
                  </a:lnTo>
                  <a:lnTo>
                    <a:pt x="2525169" y="325514"/>
                  </a:lnTo>
                  <a:cubicBezTo>
                    <a:pt x="2534003" y="283718"/>
                    <a:pt x="2533148" y="239072"/>
                    <a:pt x="2520609" y="195090"/>
                  </a:cubicBezTo>
                  <a:close/>
                  <a:moveTo>
                    <a:pt x="908502" y="825362"/>
                  </a:moveTo>
                  <a:cubicBezTo>
                    <a:pt x="822724" y="849964"/>
                    <a:pt x="733242" y="800379"/>
                    <a:pt x="708639" y="714601"/>
                  </a:cubicBezTo>
                  <a:cubicBezTo>
                    <a:pt x="684036" y="628823"/>
                    <a:pt x="733622" y="539341"/>
                    <a:pt x="819400" y="514738"/>
                  </a:cubicBezTo>
                  <a:cubicBezTo>
                    <a:pt x="905177" y="490135"/>
                    <a:pt x="994660" y="539721"/>
                    <a:pt x="1019262" y="625499"/>
                  </a:cubicBezTo>
                  <a:cubicBezTo>
                    <a:pt x="1043865" y="711371"/>
                    <a:pt x="994280" y="800854"/>
                    <a:pt x="908502" y="825362"/>
                  </a:cubicBezTo>
                  <a:close/>
                  <a:moveTo>
                    <a:pt x="2306212" y="424591"/>
                  </a:moveTo>
                  <a:cubicBezTo>
                    <a:pt x="2220435" y="449194"/>
                    <a:pt x="2130952" y="399608"/>
                    <a:pt x="2106349" y="313830"/>
                  </a:cubicBezTo>
                  <a:cubicBezTo>
                    <a:pt x="2081747" y="228053"/>
                    <a:pt x="2131332" y="138570"/>
                    <a:pt x="2217110" y="113967"/>
                  </a:cubicBezTo>
                  <a:cubicBezTo>
                    <a:pt x="2302888" y="89365"/>
                    <a:pt x="2392370" y="138950"/>
                    <a:pt x="2416973" y="224728"/>
                  </a:cubicBezTo>
                  <a:cubicBezTo>
                    <a:pt x="2441576" y="310506"/>
                    <a:pt x="2391990" y="399988"/>
                    <a:pt x="2306212" y="424591"/>
                  </a:cubicBezTo>
                  <a:close/>
                </a:path>
              </a:pathLst>
            </a:custGeom>
            <a:solidFill>
              <a:schemeClr val="accent2"/>
            </a:solidFill>
            <a:ln w="9499"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FFB9"/>
                </a:solidFill>
                <a:effectLst/>
                <a:uLnTx/>
                <a:uFillTx/>
                <a:latin typeface="Arial"/>
                <a:ea typeface="+mn-ea"/>
                <a:cs typeface="+mn-cs"/>
              </a:endParaRPr>
            </a:p>
          </p:txBody>
        </p:sp>
      </p:grpSp>
      <p:grpSp>
        <p:nvGrpSpPr>
          <p:cNvPr id="59" name="Gruppieren 58">
            <a:extLst>
              <a:ext uri="{FF2B5EF4-FFF2-40B4-BE49-F238E27FC236}">
                <a16:creationId xmlns:a16="http://schemas.microsoft.com/office/drawing/2014/main" id="{CAE5F0A5-92F8-804F-BE94-05EDB888D479}"/>
              </a:ext>
            </a:extLst>
          </p:cNvPr>
          <p:cNvGrpSpPr/>
          <p:nvPr/>
        </p:nvGrpSpPr>
        <p:grpSpPr>
          <a:xfrm>
            <a:off x="6072663" y="4403887"/>
            <a:ext cx="2268036" cy="1564063"/>
            <a:chOff x="6072663" y="4403887"/>
            <a:chExt cx="2268036" cy="1564063"/>
          </a:xfrm>
        </p:grpSpPr>
        <p:sp>
          <p:nvSpPr>
            <p:cNvPr id="101" name="Freeform 101">
              <a:extLst>
                <a:ext uri="{FF2B5EF4-FFF2-40B4-BE49-F238E27FC236}">
                  <a16:creationId xmlns:a16="http://schemas.microsoft.com/office/drawing/2014/main" id="{613869C5-A708-6449-BF5E-9C004A7C4C39}"/>
                </a:ext>
              </a:extLst>
            </p:cNvPr>
            <p:cNvSpPr/>
            <p:nvPr/>
          </p:nvSpPr>
          <p:spPr bwMode="auto">
            <a:xfrm flipH="1">
              <a:off x="6072663" y="4403887"/>
              <a:ext cx="1743601" cy="1507102"/>
            </a:xfrm>
            <a:custGeom>
              <a:avLst/>
              <a:gdLst>
                <a:gd name="connsiteX0" fmla="*/ 0 w 1276004"/>
                <a:gd name="connsiteY0" fmla="*/ 411480 h 411480"/>
                <a:gd name="connsiteX1" fmla="*/ 864524 w 1276004"/>
                <a:gd name="connsiteY1" fmla="*/ 411480 h 411480"/>
                <a:gd name="connsiteX2" fmla="*/ 1276004 w 1276004"/>
                <a:gd name="connsiteY2" fmla="*/ 0 h 411480"/>
                <a:gd name="connsiteX0" fmla="*/ 0 w 797592"/>
                <a:gd name="connsiteY0" fmla="*/ 413985 h 413985"/>
                <a:gd name="connsiteX1" fmla="*/ 386112 w 797592"/>
                <a:gd name="connsiteY1" fmla="*/ 411480 h 413985"/>
                <a:gd name="connsiteX2" fmla="*/ 797592 w 797592"/>
                <a:gd name="connsiteY2" fmla="*/ 0 h 413985"/>
                <a:gd name="connsiteX0" fmla="*/ 0 w 513640"/>
                <a:gd name="connsiteY0" fmla="*/ 411902 h 411902"/>
                <a:gd name="connsiteX1" fmla="*/ 102160 w 513640"/>
                <a:gd name="connsiteY1" fmla="*/ 411480 h 411902"/>
                <a:gd name="connsiteX2" fmla="*/ 513640 w 513640"/>
                <a:gd name="connsiteY2" fmla="*/ 0 h 411902"/>
                <a:gd name="connsiteX0" fmla="*/ 0 w 474260"/>
                <a:gd name="connsiteY0" fmla="*/ 411902 h 411902"/>
                <a:gd name="connsiteX1" fmla="*/ 62780 w 474260"/>
                <a:gd name="connsiteY1" fmla="*/ 411480 h 411902"/>
                <a:gd name="connsiteX2" fmla="*/ 474260 w 474260"/>
                <a:gd name="connsiteY2" fmla="*/ 0 h 411902"/>
              </a:gdLst>
              <a:ahLst/>
              <a:cxnLst>
                <a:cxn ang="0">
                  <a:pos x="connsiteX0" y="connsiteY0"/>
                </a:cxn>
                <a:cxn ang="0">
                  <a:pos x="connsiteX1" y="connsiteY1"/>
                </a:cxn>
                <a:cxn ang="0">
                  <a:pos x="connsiteX2" y="connsiteY2"/>
                </a:cxn>
              </a:cxnLst>
              <a:rect l="l" t="t" r="r" b="b"/>
              <a:pathLst>
                <a:path w="474260" h="411902">
                  <a:moveTo>
                    <a:pt x="0" y="411902"/>
                  </a:moveTo>
                  <a:lnTo>
                    <a:pt x="62780" y="411480"/>
                  </a:lnTo>
                  <a:lnTo>
                    <a:pt x="474260" y="0"/>
                  </a:lnTo>
                </a:path>
              </a:pathLst>
            </a:custGeom>
            <a:noFill/>
            <a:ln w="19050">
              <a:solidFill>
                <a:schemeClr val="accent2"/>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lvl="0" indent="0" algn="l" defTabSz="913943" eaLnBrk="1" fontAlgn="base" latinLnBrk="0" hangingPunct="1">
                <a:lnSpc>
                  <a:spcPct val="100000"/>
                </a:lnSpc>
                <a:spcBef>
                  <a:spcPct val="50000"/>
                </a:spcBef>
                <a:spcAft>
                  <a:spcPct val="0"/>
                </a:spcAft>
                <a:buClrTx/>
                <a:buSzTx/>
                <a:buFontTx/>
                <a:buNone/>
                <a:tabLst/>
                <a:defRPr/>
              </a:pPr>
              <a:endParaRPr kumimoji="0" lang="en-US" sz="2399" b="0" i="0" u="none" strike="noStrike" kern="1200" cap="none" spc="0" normalizeH="0" baseline="0" noProof="0">
                <a:ln>
                  <a:noFill/>
                </a:ln>
                <a:solidFill>
                  <a:srgbClr val="000000"/>
                </a:solidFill>
                <a:effectLst/>
                <a:uLnTx/>
                <a:uFillTx/>
                <a:latin typeface="Arial"/>
                <a:ea typeface="ヒラギノ角ゴ Pro W3" charset="0"/>
                <a:cs typeface="+mn-cs"/>
              </a:endParaRPr>
            </a:p>
          </p:txBody>
        </p:sp>
        <p:pic>
          <p:nvPicPr>
            <p:cNvPr id="26" name="Grafik 25">
              <a:extLst>
                <a:ext uri="{FF2B5EF4-FFF2-40B4-BE49-F238E27FC236}">
                  <a16:creationId xmlns:a16="http://schemas.microsoft.com/office/drawing/2014/main" id="{7E003D6D-4295-2D41-B457-43A1153E0BCE}"/>
                </a:ext>
              </a:extLst>
            </p:cNvPr>
            <p:cNvPicPr>
              <a:picLocks noChangeAspect="1"/>
            </p:cNvPicPr>
            <p:nvPr/>
          </p:nvPicPr>
          <p:blipFill>
            <a:blip r:embed="rId24">
              <a:extLst>
                <a:ext uri="{96DAC541-7B7A-43D3-8B79-37D633B846F1}">
                  <asvg:svgBlip xmlns:asvg="http://schemas.microsoft.com/office/drawing/2016/SVG/main" r:embed="rId25"/>
                </a:ext>
              </a:extLst>
            </a:blip>
            <a:srcRect/>
            <a:stretch/>
          </p:blipFill>
          <p:spPr>
            <a:xfrm>
              <a:off x="7827423" y="5457128"/>
              <a:ext cx="513276" cy="510822"/>
            </a:xfrm>
            <a:prstGeom prst="rect">
              <a:avLst/>
            </a:prstGeom>
          </p:spPr>
        </p:pic>
      </p:grpSp>
      <p:grpSp>
        <p:nvGrpSpPr>
          <p:cNvPr id="50" name="Gruppieren 49">
            <a:extLst>
              <a:ext uri="{FF2B5EF4-FFF2-40B4-BE49-F238E27FC236}">
                <a16:creationId xmlns:a16="http://schemas.microsoft.com/office/drawing/2014/main" id="{44AC3788-F238-0647-B742-AE54252583EA}"/>
              </a:ext>
            </a:extLst>
          </p:cNvPr>
          <p:cNvGrpSpPr/>
          <p:nvPr/>
        </p:nvGrpSpPr>
        <p:grpSpPr>
          <a:xfrm>
            <a:off x="6545754" y="4146944"/>
            <a:ext cx="4158273" cy="441840"/>
            <a:chOff x="6545754" y="4146944"/>
            <a:chExt cx="4158273" cy="441840"/>
          </a:xfrm>
        </p:grpSpPr>
        <p:sp>
          <p:nvSpPr>
            <p:cNvPr id="110" name="Freeform 109">
              <a:extLst>
                <a:ext uri="{FF2B5EF4-FFF2-40B4-BE49-F238E27FC236}">
                  <a16:creationId xmlns:a16="http://schemas.microsoft.com/office/drawing/2014/main" id="{BE57460B-EC6B-6B4A-B784-012C9748F74F}"/>
                </a:ext>
              </a:extLst>
            </p:cNvPr>
            <p:cNvSpPr/>
            <p:nvPr/>
          </p:nvSpPr>
          <p:spPr bwMode="auto">
            <a:xfrm>
              <a:off x="6545754" y="4146944"/>
              <a:ext cx="3529442" cy="321197"/>
            </a:xfrm>
            <a:custGeom>
              <a:avLst/>
              <a:gdLst>
                <a:gd name="connsiteX0" fmla="*/ 0 w 2580640"/>
                <a:gd name="connsiteY0" fmla="*/ 0 h 684106"/>
                <a:gd name="connsiteX1" fmla="*/ 392853 w 2580640"/>
                <a:gd name="connsiteY1" fmla="*/ 392853 h 684106"/>
                <a:gd name="connsiteX2" fmla="*/ 1435947 w 2580640"/>
                <a:gd name="connsiteY2" fmla="*/ 392853 h 684106"/>
                <a:gd name="connsiteX3" fmla="*/ 1727200 w 2580640"/>
                <a:gd name="connsiteY3" fmla="*/ 684106 h 684106"/>
                <a:gd name="connsiteX4" fmla="*/ 1788160 w 2580640"/>
                <a:gd name="connsiteY4" fmla="*/ 684106 h 684106"/>
                <a:gd name="connsiteX5" fmla="*/ 2580640 w 2580640"/>
                <a:gd name="connsiteY5" fmla="*/ 684106 h 684106"/>
                <a:gd name="connsiteX0" fmla="*/ 0 w 3650544"/>
                <a:gd name="connsiteY0" fmla="*/ 0 h 684106"/>
                <a:gd name="connsiteX1" fmla="*/ 392853 w 3650544"/>
                <a:gd name="connsiteY1" fmla="*/ 392853 h 684106"/>
                <a:gd name="connsiteX2" fmla="*/ 1435947 w 3650544"/>
                <a:gd name="connsiteY2" fmla="*/ 392853 h 684106"/>
                <a:gd name="connsiteX3" fmla="*/ 1727200 w 3650544"/>
                <a:gd name="connsiteY3" fmla="*/ 684106 h 684106"/>
                <a:gd name="connsiteX4" fmla="*/ 1788160 w 3650544"/>
                <a:gd name="connsiteY4" fmla="*/ 684106 h 684106"/>
                <a:gd name="connsiteX5" fmla="*/ 3650544 w 3650544"/>
                <a:gd name="connsiteY5" fmla="*/ 677590 h 684106"/>
                <a:gd name="connsiteX0" fmla="*/ 0 w 3633118"/>
                <a:gd name="connsiteY0" fmla="*/ 0 h 684106"/>
                <a:gd name="connsiteX1" fmla="*/ 392853 w 3633118"/>
                <a:gd name="connsiteY1" fmla="*/ 392853 h 684106"/>
                <a:gd name="connsiteX2" fmla="*/ 1435947 w 3633118"/>
                <a:gd name="connsiteY2" fmla="*/ 392853 h 684106"/>
                <a:gd name="connsiteX3" fmla="*/ 1727200 w 3633118"/>
                <a:gd name="connsiteY3" fmla="*/ 684106 h 684106"/>
                <a:gd name="connsiteX4" fmla="*/ 1788160 w 3633118"/>
                <a:gd name="connsiteY4" fmla="*/ 684106 h 684106"/>
                <a:gd name="connsiteX5" fmla="*/ 3633118 w 3633118"/>
                <a:gd name="connsiteY5" fmla="*/ 680508 h 684106"/>
                <a:gd name="connsiteX0" fmla="*/ 0 w 3630214"/>
                <a:gd name="connsiteY0" fmla="*/ 0 h 689263"/>
                <a:gd name="connsiteX1" fmla="*/ 392853 w 3630214"/>
                <a:gd name="connsiteY1" fmla="*/ 392853 h 689263"/>
                <a:gd name="connsiteX2" fmla="*/ 1435947 w 3630214"/>
                <a:gd name="connsiteY2" fmla="*/ 392853 h 689263"/>
                <a:gd name="connsiteX3" fmla="*/ 1727200 w 3630214"/>
                <a:gd name="connsiteY3" fmla="*/ 684106 h 689263"/>
                <a:gd name="connsiteX4" fmla="*/ 1788160 w 3630214"/>
                <a:gd name="connsiteY4" fmla="*/ 684106 h 689263"/>
                <a:gd name="connsiteX5" fmla="*/ 3630214 w 3630214"/>
                <a:gd name="connsiteY5" fmla="*/ 689263 h 689263"/>
                <a:gd name="connsiteX0" fmla="*/ 0 w 3627310"/>
                <a:gd name="connsiteY0" fmla="*/ 0 h 686345"/>
                <a:gd name="connsiteX1" fmla="*/ 392853 w 3627310"/>
                <a:gd name="connsiteY1" fmla="*/ 392853 h 686345"/>
                <a:gd name="connsiteX2" fmla="*/ 1435947 w 3627310"/>
                <a:gd name="connsiteY2" fmla="*/ 392853 h 686345"/>
                <a:gd name="connsiteX3" fmla="*/ 1727200 w 3627310"/>
                <a:gd name="connsiteY3" fmla="*/ 684106 h 686345"/>
                <a:gd name="connsiteX4" fmla="*/ 1788160 w 3627310"/>
                <a:gd name="connsiteY4" fmla="*/ 684106 h 686345"/>
                <a:gd name="connsiteX5" fmla="*/ 3627310 w 3627310"/>
                <a:gd name="connsiteY5" fmla="*/ 686345 h 686345"/>
                <a:gd name="connsiteX0" fmla="*/ 0 w 3621501"/>
                <a:gd name="connsiteY0" fmla="*/ 0 h 684106"/>
                <a:gd name="connsiteX1" fmla="*/ 392853 w 3621501"/>
                <a:gd name="connsiteY1" fmla="*/ 392853 h 684106"/>
                <a:gd name="connsiteX2" fmla="*/ 1435947 w 3621501"/>
                <a:gd name="connsiteY2" fmla="*/ 392853 h 684106"/>
                <a:gd name="connsiteX3" fmla="*/ 1727200 w 3621501"/>
                <a:gd name="connsiteY3" fmla="*/ 684106 h 684106"/>
                <a:gd name="connsiteX4" fmla="*/ 1788160 w 3621501"/>
                <a:gd name="connsiteY4" fmla="*/ 684106 h 684106"/>
                <a:gd name="connsiteX5" fmla="*/ 3621501 w 3621501"/>
                <a:gd name="connsiteY5" fmla="*/ 683427 h 684106"/>
                <a:gd name="connsiteX0" fmla="*/ 0 w 3621501"/>
                <a:gd name="connsiteY0" fmla="*/ 0 h 684106"/>
                <a:gd name="connsiteX1" fmla="*/ 392853 w 3621501"/>
                <a:gd name="connsiteY1" fmla="*/ 392853 h 684106"/>
                <a:gd name="connsiteX2" fmla="*/ 1435947 w 3621501"/>
                <a:gd name="connsiteY2" fmla="*/ 392853 h 684106"/>
                <a:gd name="connsiteX3" fmla="*/ 1727200 w 3621501"/>
                <a:gd name="connsiteY3" fmla="*/ 684106 h 684106"/>
                <a:gd name="connsiteX4" fmla="*/ 2930504 w 3621501"/>
                <a:gd name="connsiteY4" fmla="*/ 684106 h 684106"/>
                <a:gd name="connsiteX5" fmla="*/ 3621501 w 3621501"/>
                <a:gd name="connsiteY5" fmla="*/ 683427 h 684106"/>
                <a:gd name="connsiteX0" fmla="*/ 0 w 3228648"/>
                <a:gd name="connsiteY0" fmla="*/ 0 h 291253"/>
                <a:gd name="connsiteX1" fmla="*/ 1043094 w 3228648"/>
                <a:gd name="connsiteY1" fmla="*/ 0 h 291253"/>
                <a:gd name="connsiteX2" fmla="*/ 1334347 w 3228648"/>
                <a:gd name="connsiteY2" fmla="*/ 291253 h 291253"/>
                <a:gd name="connsiteX3" fmla="*/ 2537651 w 3228648"/>
                <a:gd name="connsiteY3" fmla="*/ 291253 h 291253"/>
                <a:gd name="connsiteX4" fmla="*/ 3228648 w 3228648"/>
                <a:gd name="connsiteY4" fmla="*/ 290574 h 291253"/>
                <a:gd name="connsiteX0" fmla="*/ 0 w 3228648"/>
                <a:gd name="connsiteY0" fmla="*/ 0 h 291253"/>
                <a:gd name="connsiteX1" fmla="*/ 1043094 w 3228648"/>
                <a:gd name="connsiteY1" fmla="*/ 0 h 291253"/>
                <a:gd name="connsiteX2" fmla="*/ 1334347 w 3228648"/>
                <a:gd name="connsiteY2" fmla="*/ 291253 h 291253"/>
                <a:gd name="connsiteX3" fmla="*/ 3228648 w 3228648"/>
                <a:gd name="connsiteY3" fmla="*/ 290574 h 291253"/>
                <a:gd name="connsiteX0" fmla="*/ 0 w 3228648"/>
                <a:gd name="connsiteY0" fmla="*/ 25090 h 316343"/>
                <a:gd name="connsiteX1" fmla="*/ 2054350 w 3228648"/>
                <a:gd name="connsiteY1" fmla="*/ 0 h 316343"/>
                <a:gd name="connsiteX2" fmla="*/ 1334347 w 3228648"/>
                <a:gd name="connsiteY2" fmla="*/ 316343 h 316343"/>
                <a:gd name="connsiteX3" fmla="*/ 3228648 w 3228648"/>
                <a:gd name="connsiteY3" fmla="*/ 315664 h 316343"/>
                <a:gd name="connsiteX0" fmla="*/ 0 w 3228648"/>
                <a:gd name="connsiteY0" fmla="*/ 25090 h 316343"/>
                <a:gd name="connsiteX1" fmla="*/ 2054350 w 3228648"/>
                <a:gd name="connsiteY1" fmla="*/ 0 h 316343"/>
                <a:gd name="connsiteX2" fmla="*/ 2376814 w 3228648"/>
                <a:gd name="connsiteY2" fmla="*/ 316343 h 316343"/>
                <a:gd name="connsiteX3" fmla="*/ 3228648 w 3228648"/>
                <a:gd name="connsiteY3" fmla="*/ 315664 h 316343"/>
                <a:gd name="connsiteX0" fmla="*/ 0 w 3228648"/>
                <a:gd name="connsiteY0" fmla="*/ 1743 h 292996"/>
                <a:gd name="connsiteX1" fmla="*/ 2068872 w 3228648"/>
                <a:gd name="connsiteY1" fmla="*/ 0 h 292996"/>
                <a:gd name="connsiteX2" fmla="*/ 2376814 w 3228648"/>
                <a:gd name="connsiteY2" fmla="*/ 292996 h 292996"/>
                <a:gd name="connsiteX3" fmla="*/ 3228648 w 3228648"/>
                <a:gd name="connsiteY3" fmla="*/ 292317 h 292996"/>
                <a:gd name="connsiteX0" fmla="*/ 0 w 3228648"/>
                <a:gd name="connsiteY0" fmla="*/ 4661 h 295914"/>
                <a:gd name="connsiteX1" fmla="*/ 1833615 w 3228648"/>
                <a:gd name="connsiteY1" fmla="*/ 0 h 295914"/>
                <a:gd name="connsiteX2" fmla="*/ 2376814 w 3228648"/>
                <a:gd name="connsiteY2" fmla="*/ 295914 h 295914"/>
                <a:gd name="connsiteX3" fmla="*/ 3228648 w 3228648"/>
                <a:gd name="connsiteY3" fmla="*/ 295235 h 295914"/>
                <a:gd name="connsiteX0" fmla="*/ 0 w 3228648"/>
                <a:gd name="connsiteY0" fmla="*/ 4661 h 295235"/>
                <a:gd name="connsiteX1" fmla="*/ 1833615 w 3228648"/>
                <a:gd name="connsiteY1" fmla="*/ 0 h 295235"/>
                <a:gd name="connsiteX2" fmla="*/ 2121226 w 3228648"/>
                <a:gd name="connsiteY2" fmla="*/ 292996 h 295235"/>
                <a:gd name="connsiteX3" fmla="*/ 3228648 w 3228648"/>
                <a:gd name="connsiteY3" fmla="*/ 295235 h 295235"/>
              </a:gdLst>
              <a:ahLst/>
              <a:cxnLst>
                <a:cxn ang="0">
                  <a:pos x="connsiteX0" y="connsiteY0"/>
                </a:cxn>
                <a:cxn ang="0">
                  <a:pos x="connsiteX1" y="connsiteY1"/>
                </a:cxn>
                <a:cxn ang="0">
                  <a:pos x="connsiteX2" y="connsiteY2"/>
                </a:cxn>
                <a:cxn ang="0">
                  <a:pos x="connsiteX3" y="connsiteY3"/>
                </a:cxn>
              </a:cxnLst>
              <a:rect l="l" t="t" r="r" b="b"/>
              <a:pathLst>
                <a:path w="3228648" h="295235">
                  <a:moveTo>
                    <a:pt x="0" y="4661"/>
                  </a:moveTo>
                  <a:lnTo>
                    <a:pt x="1833615" y="0"/>
                  </a:lnTo>
                  <a:lnTo>
                    <a:pt x="2121226" y="292996"/>
                  </a:lnTo>
                  <a:lnTo>
                    <a:pt x="3228648" y="295235"/>
                  </a:lnTo>
                </a:path>
              </a:pathLst>
            </a:custGeom>
            <a:noFill/>
            <a:ln w="19050">
              <a:solidFill>
                <a:schemeClr val="accent2"/>
              </a:solidFill>
              <a:prstDash val="solid"/>
              <a:miter lim="800000"/>
              <a:headEnd/>
              <a:tailEnd/>
              <a:extLst>
                <a:ext uri="{C807C97D-BFC1-408E-A445-0C87EB9F89A2}">
                  <ask:lineSketchStyleProps xmlns:ask="http://schemas.microsoft.com/office/drawing/2018/sketchyshapes">
                    <ask:type>
                      <ask:lineSketchNone/>
                    </ask:type>
                  </ask:lineSketchStyleProps>
                </a:ext>
              </a:extLst>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lvl="0" indent="0" algn="l" defTabSz="913943" eaLnBrk="1" fontAlgn="base" latinLnBrk="0" hangingPunct="1">
                <a:lnSpc>
                  <a:spcPct val="100000"/>
                </a:lnSpc>
                <a:spcBef>
                  <a:spcPct val="50000"/>
                </a:spcBef>
                <a:spcAft>
                  <a:spcPct val="0"/>
                </a:spcAft>
                <a:buClrTx/>
                <a:buSzTx/>
                <a:buFontTx/>
                <a:buNone/>
                <a:tabLst/>
                <a:defRPr/>
              </a:pPr>
              <a:endParaRPr kumimoji="0" lang="en-US" sz="2399" b="0" i="0" u="none" strike="noStrike" kern="1200" cap="none" spc="0" normalizeH="0" baseline="0" noProof="0">
                <a:ln>
                  <a:noFill/>
                </a:ln>
                <a:solidFill>
                  <a:srgbClr val="00FFB9"/>
                </a:solidFill>
                <a:effectLst/>
                <a:uLnTx/>
                <a:uFillTx/>
                <a:latin typeface="Arial"/>
                <a:ea typeface="ヒラギノ角ゴ Pro W3" charset="0"/>
                <a:cs typeface="+mn-cs"/>
              </a:endParaRPr>
            </a:p>
          </p:txBody>
        </p:sp>
        <p:sp>
          <p:nvSpPr>
            <p:cNvPr id="120" name="Freihandform: Form 107">
              <a:extLst>
                <a:ext uri="{FF2B5EF4-FFF2-40B4-BE49-F238E27FC236}">
                  <a16:creationId xmlns:a16="http://schemas.microsoft.com/office/drawing/2014/main" id="{8E0E8966-234C-B248-82FE-D841F611648C}"/>
                </a:ext>
              </a:extLst>
            </p:cNvPr>
            <p:cNvSpPr>
              <a:spLocks/>
            </p:cNvSpPr>
            <p:nvPr/>
          </p:nvSpPr>
          <p:spPr bwMode="gray">
            <a:xfrm>
              <a:off x="10061523" y="4215210"/>
              <a:ext cx="642504" cy="373574"/>
            </a:xfrm>
            <a:custGeom>
              <a:avLst/>
              <a:gdLst>
                <a:gd name="connsiteX0" fmla="*/ 132392 w 669178"/>
                <a:gd name="connsiteY0" fmla="*/ 278762 h 390953"/>
                <a:gd name="connsiteX1" fmla="*/ 76297 w 669178"/>
                <a:gd name="connsiteY1" fmla="*/ 334858 h 390953"/>
                <a:gd name="connsiteX2" fmla="*/ 132392 w 669178"/>
                <a:gd name="connsiteY2" fmla="*/ 390954 h 390953"/>
                <a:gd name="connsiteX3" fmla="*/ 188488 w 669178"/>
                <a:gd name="connsiteY3" fmla="*/ 334858 h 390953"/>
                <a:gd name="connsiteX4" fmla="*/ 132392 w 669178"/>
                <a:gd name="connsiteY4" fmla="*/ 278762 h 390953"/>
                <a:gd name="connsiteX5" fmla="*/ 653995 w 669178"/>
                <a:gd name="connsiteY5" fmla="*/ 236026 h 390953"/>
                <a:gd name="connsiteX6" fmla="*/ 653995 w 669178"/>
                <a:gd name="connsiteY6" fmla="*/ 235999 h 390953"/>
                <a:gd name="connsiteX7" fmla="*/ 653995 w 669178"/>
                <a:gd name="connsiteY7" fmla="*/ 190366 h 390953"/>
                <a:gd name="connsiteX8" fmla="*/ 390873 w 669178"/>
                <a:gd name="connsiteY8" fmla="*/ 12367 h 390953"/>
                <a:gd name="connsiteX9" fmla="*/ 317849 w 669178"/>
                <a:gd name="connsiteY9" fmla="*/ 0 h 390953"/>
                <a:gd name="connsiteX10" fmla="*/ 114043 w 669178"/>
                <a:gd name="connsiteY10" fmla="*/ 0 h 390953"/>
                <a:gd name="connsiteX11" fmla="*/ 22803 w 669178"/>
                <a:gd name="connsiteY11" fmla="*/ 125578 h 390953"/>
                <a:gd name="connsiteX12" fmla="*/ 22803 w 669178"/>
                <a:gd name="connsiteY12" fmla="*/ 189347 h 390953"/>
                <a:gd name="connsiteX13" fmla="*/ 0 w 669178"/>
                <a:gd name="connsiteY13" fmla="*/ 234390 h 390953"/>
                <a:gd name="connsiteX14" fmla="*/ 4668 w 669178"/>
                <a:gd name="connsiteY14" fmla="*/ 301350 h 390953"/>
                <a:gd name="connsiteX15" fmla="*/ 37933 w 669178"/>
                <a:gd name="connsiteY15" fmla="*/ 334831 h 390953"/>
                <a:gd name="connsiteX16" fmla="*/ 48745 w 669178"/>
                <a:gd name="connsiteY16" fmla="*/ 334858 h 390953"/>
                <a:gd name="connsiteX17" fmla="*/ 132392 w 669178"/>
                <a:gd name="connsiteY17" fmla="*/ 251210 h 390953"/>
                <a:gd name="connsiteX18" fmla="*/ 216040 w 669178"/>
                <a:gd name="connsiteY18" fmla="*/ 334858 h 390953"/>
                <a:gd name="connsiteX19" fmla="*/ 456331 w 669178"/>
                <a:gd name="connsiteY19" fmla="*/ 334858 h 390953"/>
                <a:gd name="connsiteX20" fmla="*/ 539040 w 669178"/>
                <a:gd name="connsiteY20" fmla="*/ 252149 h 390953"/>
                <a:gd name="connsiteX21" fmla="*/ 621748 w 669178"/>
                <a:gd name="connsiteY21" fmla="*/ 334858 h 390953"/>
                <a:gd name="connsiteX22" fmla="*/ 638864 w 669178"/>
                <a:gd name="connsiteY22" fmla="*/ 334831 h 390953"/>
                <a:gd name="connsiteX23" fmla="*/ 669071 w 669178"/>
                <a:gd name="connsiteY23" fmla="*/ 304409 h 390953"/>
                <a:gd name="connsiteX24" fmla="*/ 669179 w 669178"/>
                <a:gd name="connsiteY24" fmla="*/ 267870 h 390953"/>
                <a:gd name="connsiteX25" fmla="*/ 653995 w 669178"/>
                <a:gd name="connsiteY25" fmla="*/ 236026 h 390953"/>
                <a:gd name="connsiteX26" fmla="*/ 523453 w 669178"/>
                <a:gd name="connsiteY26" fmla="*/ 146826 h 390953"/>
                <a:gd name="connsiteX27" fmla="*/ 167160 w 669178"/>
                <a:gd name="connsiteY27" fmla="*/ 121903 h 390953"/>
                <a:gd name="connsiteX28" fmla="*/ 191654 w 669178"/>
                <a:gd name="connsiteY28" fmla="*/ 54540 h 390953"/>
                <a:gd name="connsiteX29" fmla="*/ 226368 w 669178"/>
                <a:gd name="connsiteY29" fmla="*/ 30664 h 390953"/>
                <a:gd name="connsiteX30" fmla="*/ 315301 w 669178"/>
                <a:gd name="connsiteY30" fmla="*/ 30664 h 390953"/>
                <a:gd name="connsiteX31" fmla="*/ 381778 w 669178"/>
                <a:gd name="connsiteY31" fmla="*/ 41824 h 390953"/>
                <a:gd name="connsiteX32" fmla="*/ 537349 w 669178"/>
                <a:gd name="connsiteY32" fmla="*/ 132902 h 390953"/>
                <a:gd name="connsiteX33" fmla="*/ 523453 w 669178"/>
                <a:gd name="connsiteY33" fmla="*/ 146826 h 390953"/>
                <a:gd name="connsiteX34" fmla="*/ 539040 w 669178"/>
                <a:gd name="connsiteY34" fmla="*/ 278762 h 390953"/>
                <a:gd name="connsiteX35" fmla="*/ 482944 w 669178"/>
                <a:gd name="connsiteY35" fmla="*/ 334858 h 390953"/>
                <a:gd name="connsiteX36" fmla="*/ 539040 w 669178"/>
                <a:gd name="connsiteY36" fmla="*/ 390954 h 390953"/>
                <a:gd name="connsiteX37" fmla="*/ 595135 w 669178"/>
                <a:gd name="connsiteY37" fmla="*/ 334858 h 390953"/>
                <a:gd name="connsiteX38" fmla="*/ 539040 w 669178"/>
                <a:gd name="connsiteY38" fmla="*/ 278762 h 39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69178" h="390953">
                  <a:moveTo>
                    <a:pt x="132392" y="278762"/>
                  </a:moveTo>
                  <a:cubicBezTo>
                    <a:pt x="101460" y="278762"/>
                    <a:pt x="76297" y="303926"/>
                    <a:pt x="76297" y="334858"/>
                  </a:cubicBezTo>
                  <a:cubicBezTo>
                    <a:pt x="76297" y="365790"/>
                    <a:pt x="101460" y="390954"/>
                    <a:pt x="132392" y="390954"/>
                  </a:cubicBezTo>
                  <a:cubicBezTo>
                    <a:pt x="163324" y="390954"/>
                    <a:pt x="188488" y="365790"/>
                    <a:pt x="188488" y="334858"/>
                  </a:cubicBezTo>
                  <a:cubicBezTo>
                    <a:pt x="188488" y="303926"/>
                    <a:pt x="163324" y="278762"/>
                    <a:pt x="132392" y="278762"/>
                  </a:cubicBezTo>
                  <a:close/>
                  <a:moveTo>
                    <a:pt x="653995" y="236026"/>
                  </a:moveTo>
                  <a:lnTo>
                    <a:pt x="653995" y="235999"/>
                  </a:lnTo>
                  <a:lnTo>
                    <a:pt x="653995" y="190366"/>
                  </a:lnTo>
                  <a:cubicBezTo>
                    <a:pt x="600393" y="125417"/>
                    <a:pt x="443481" y="34661"/>
                    <a:pt x="390873" y="12367"/>
                  </a:cubicBezTo>
                  <a:cubicBezTo>
                    <a:pt x="370135" y="3568"/>
                    <a:pt x="356909" y="0"/>
                    <a:pt x="317849" y="0"/>
                  </a:cubicBezTo>
                  <a:lnTo>
                    <a:pt x="114043" y="0"/>
                  </a:lnTo>
                  <a:lnTo>
                    <a:pt x="22803" y="125578"/>
                  </a:lnTo>
                  <a:lnTo>
                    <a:pt x="22803" y="189347"/>
                  </a:lnTo>
                  <a:lnTo>
                    <a:pt x="0" y="234390"/>
                  </a:lnTo>
                  <a:lnTo>
                    <a:pt x="4668" y="301350"/>
                  </a:lnTo>
                  <a:cubicBezTo>
                    <a:pt x="6438" y="321632"/>
                    <a:pt x="19423" y="334831"/>
                    <a:pt x="37933" y="334831"/>
                  </a:cubicBezTo>
                  <a:lnTo>
                    <a:pt x="48745" y="334858"/>
                  </a:lnTo>
                  <a:cubicBezTo>
                    <a:pt x="48745" y="288661"/>
                    <a:pt x="86196" y="251210"/>
                    <a:pt x="132392" y="251210"/>
                  </a:cubicBezTo>
                  <a:cubicBezTo>
                    <a:pt x="178589" y="251210"/>
                    <a:pt x="216040" y="288661"/>
                    <a:pt x="216040" y="334858"/>
                  </a:cubicBezTo>
                  <a:lnTo>
                    <a:pt x="456331" y="334858"/>
                  </a:lnTo>
                  <a:cubicBezTo>
                    <a:pt x="456331" y="289251"/>
                    <a:pt x="493433" y="252149"/>
                    <a:pt x="539040" y="252149"/>
                  </a:cubicBezTo>
                  <a:cubicBezTo>
                    <a:pt x="584646" y="252149"/>
                    <a:pt x="621748" y="289251"/>
                    <a:pt x="621748" y="334858"/>
                  </a:cubicBezTo>
                  <a:lnTo>
                    <a:pt x="638864" y="334831"/>
                  </a:lnTo>
                  <a:cubicBezTo>
                    <a:pt x="655685" y="334831"/>
                    <a:pt x="667488" y="322839"/>
                    <a:pt x="669071" y="304409"/>
                  </a:cubicBezTo>
                  <a:lnTo>
                    <a:pt x="669179" y="267870"/>
                  </a:lnTo>
                  <a:lnTo>
                    <a:pt x="653995" y="236026"/>
                  </a:lnTo>
                  <a:close/>
                  <a:moveTo>
                    <a:pt x="523453" y="146826"/>
                  </a:moveTo>
                  <a:lnTo>
                    <a:pt x="167160" y="121903"/>
                  </a:lnTo>
                  <a:lnTo>
                    <a:pt x="191654" y="54540"/>
                  </a:lnTo>
                  <a:cubicBezTo>
                    <a:pt x="199407" y="35949"/>
                    <a:pt x="211559" y="32273"/>
                    <a:pt x="226368" y="30664"/>
                  </a:cubicBezTo>
                  <a:lnTo>
                    <a:pt x="315301" y="30664"/>
                  </a:lnTo>
                  <a:cubicBezTo>
                    <a:pt x="351947" y="30664"/>
                    <a:pt x="363160" y="33910"/>
                    <a:pt x="381778" y="41824"/>
                  </a:cubicBezTo>
                  <a:cubicBezTo>
                    <a:pt x="412656" y="54996"/>
                    <a:pt x="478705" y="91910"/>
                    <a:pt x="537349" y="132902"/>
                  </a:cubicBezTo>
                  <a:lnTo>
                    <a:pt x="523453" y="146826"/>
                  </a:lnTo>
                  <a:close/>
                  <a:moveTo>
                    <a:pt x="539040" y="278762"/>
                  </a:moveTo>
                  <a:cubicBezTo>
                    <a:pt x="508108" y="278762"/>
                    <a:pt x="482944" y="303926"/>
                    <a:pt x="482944" y="334858"/>
                  </a:cubicBezTo>
                  <a:cubicBezTo>
                    <a:pt x="482944" y="365790"/>
                    <a:pt x="508108" y="390954"/>
                    <a:pt x="539040" y="390954"/>
                  </a:cubicBezTo>
                  <a:cubicBezTo>
                    <a:pt x="569972" y="390954"/>
                    <a:pt x="595135" y="365790"/>
                    <a:pt x="595135" y="334858"/>
                  </a:cubicBezTo>
                  <a:cubicBezTo>
                    <a:pt x="595135" y="303926"/>
                    <a:pt x="569972" y="278762"/>
                    <a:pt x="539040" y="278762"/>
                  </a:cubicBezTo>
                  <a:close/>
                </a:path>
              </a:pathLst>
            </a:custGeom>
            <a:solidFill>
              <a:schemeClr val="accent2"/>
            </a:solidFill>
            <a:ln w="4604"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58" name="Gruppieren 57">
            <a:extLst>
              <a:ext uri="{FF2B5EF4-FFF2-40B4-BE49-F238E27FC236}">
                <a16:creationId xmlns:a16="http://schemas.microsoft.com/office/drawing/2014/main" id="{A795D227-1DA3-6A4B-9E97-199A27F1B06C}"/>
              </a:ext>
            </a:extLst>
          </p:cNvPr>
          <p:cNvGrpSpPr/>
          <p:nvPr/>
        </p:nvGrpSpPr>
        <p:grpSpPr>
          <a:xfrm>
            <a:off x="6186445" y="4163287"/>
            <a:ext cx="3739165" cy="1104861"/>
            <a:chOff x="6186445" y="4163287"/>
            <a:chExt cx="3739165" cy="1104861"/>
          </a:xfrm>
        </p:grpSpPr>
        <p:sp>
          <p:nvSpPr>
            <p:cNvPr id="30" name="Freihandform 29">
              <a:extLst>
                <a:ext uri="{FF2B5EF4-FFF2-40B4-BE49-F238E27FC236}">
                  <a16:creationId xmlns:a16="http://schemas.microsoft.com/office/drawing/2014/main" id="{EB13715D-B6E9-8446-9563-DA0C05B03520}"/>
                </a:ext>
              </a:extLst>
            </p:cNvPr>
            <p:cNvSpPr/>
            <p:nvPr/>
          </p:nvSpPr>
          <p:spPr>
            <a:xfrm>
              <a:off x="9309023" y="4793935"/>
              <a:ext cx="616587" cy="474213"/>
            </a:xfrm>
            <a:custGeom>
              <a:avLst/>
              <a:gdLst>
                <a:gd name="connsiteX0" fmla="*/ 1507901 w 2369670"/>
                <a:gd name="connsiteY0" fmla="*/ 1624361 h 1831253"/>
                <a:gd name="connsiteX1" fmla="*/ 1327321 w 2369670"/>
                <a:gd name="connsiteY1" fmla="*/ 1831253 h 1831253"/>
                <a:gd name="connsiteX2" fmla="*/ 180675 w 2369670"/>
                <a:gd name="connsiteY2" fmla="*/ 1831063 h 1831253"/>
                <a:gd name="connsiteX3" fmla="*/ 0 w 2369670"/>
                <a:gd name="connsiteY3" fmla="*/ 1625216 h 1831253"/>
                <a:gd name="connsiteX4" fmla="*/ 285166 w 2369670"/>
                <a:gd name="connsiteY4" fmla="*/ 1298539 h 1831253"/>
                <a:gd name="connsiteX5" fmla="*/ 418059 w 2369670"/>
                <a:gd name="connsiteY5" fmla="*/ 1235179 h 1831253"/>
                <a:gd name="connsiteX6" fmla="*/ 365529 w 2369670"/>
                <a:gd name="connsiteY6" fmla="*/ 1482538 h 1831253"/>
                <a:gd name="connsiteX7" fmla="*/ 425469 w 2369670"/>
                <a:gd name="connsiteY7" fmla="*/ 1542478 h 1831253"/>
                <a:gd name="connsiteX8" fmla="*/ 485408 w 2369670"/>
                <a:gd name="connsiteY8" fmla="*/ 1482538 h 1831253"/>
                <a:gd name="connsiteX9" fmla="*/ 576411 w 2369670"/>
                <a:gd name="connsiteY9" fmla="*/ 1193098 h 1831253"/>
                <a:gd name="connsiteX10" fmla="*/ 748631 w 2369670"/>
                <a:gd name="connsiteY10" fmla="*/ 1182839 h 1831253"/>
                <a:gd name="connsiteX11" fmla="*/ 671213 w 2369670"/>
                <a:gd name="connsiteY11" fmla="*/ 1482443 h 1831253"/>
                <a:gd name="connsiteX12" fmla="*/ 731153 w 2369670"/>
                <a:gd name="connsiteY12" fmla="*/ 1542383 h 1831253"/>
                <a:gd name="connsiteX13" fmla="*/ 791092 w 2369670"/>
                <a:gd name="connsiteY13" fmla="*/ 1482443 h 1831253"/>
                <a:gd name="connsiteX14" fmla="*/ 885704 w 2369670"/>
                <a:gd name="connsiteY14" fmla="*/ 1187873 h 1831253"/>
                <a:gd name="connsiteX15" fmla="*/ 1057260 w 2369670"/>
                <a:gd name="connsiteY15" fmla="*/ 1220551 h 1831253"/>
                <a:gd name="connsiteX16" fmla="*/ 998270 w 2369670"/>
                <a:gd name="connsiteY16" fmla="*/ 1482443 h 1831253"/>
                <a:gd name="connsiteX17" fmla="*/ 1058209 w 2369670"/>
                <a:gd name="connsiteY17" fmla="*/ 1542383 h 1831253"/>
                <a:gd name="connsiteX18" fmla="*/ 1118149 w 2369670"/>
                <a:gd name="connsiteY18" fmla="*/ 1482443 h 1831253"/>
                <a:gd name="connsiteX19" fmla="*/ 1167925 w 2369670"/>
                <a:gd name="connsiteY19" fmla="*/ 1265862 h 1831253"/>
                <a:gd name="connsiteX20" fmla="*/ 1219221 w 2369670"/>
                <a:gd name="connsiteY20" fmla="*/ 1291319 h 1831253"/>
                <a:gd name="connsiteX21" fmla="*/ 1507901 w 2369670"/>
                <a:gd name="connsiteY21" fmla="*/ 1624361 h 1831253"/>
                <a:gd name="connsiteX22" fmla="*/ 2369572 w 2369670"/>
                <a:gd name="connsiteY22" fmla="*/ 969677 h 1831253"/>
                <a:gd name="connsiteX23" fmla="*/ 2369572 w 2369670"/>
                <a:gd name="connsiteY23" fmla="*/ 1658083 h 1831253"/>
                <a:gd name="connsiteX24" fmla="*/ 2231264 w 2369670"/>
                <a:gd name="connsiteY24" fmla="*/ 1831253 h 1831253"/>
                <a:gd name="connsiteX25" fmla="*/ 1753455 w 2369670"/>
                <a:gd name="connsiteY25" fmla="*/ 1831158 h 1831253"/>
                <a:gd name="connsiteX26" fmla="*/ 1615622 w 2369670"/>
                <a:gd name="connsiteY26" fmla="*/ 1661408 h 1831253"/>
                <a:gd name="connsiteX27" fmla="*/ 1615622 w 2369670"/>
                <a:gd name="connsiteY27" fmla="*/ 969487 h 1831253"/>
                <a:gd name="connsiteX28" fmla="*/ 1615622 w 2369670"/>
                <a:gd name="connsiteY28" fmla="*/ 844763 h 1831253"/>
                <a:gd name="connsiteX29" fmla="*/ 1667107 w 2369670"/>
                <a:gd name="connsiteY29" fmla="*/ 689261 h 1831253"/>
                <a:gd name="connsiteX30" fmla="*/ 1728472 w 2369670"/>
                <a:gd name="connsiteY30" fmla="*/ 557507 h 1831253"/>
                <a:gd name="connsiteX31" fmla="*/ 1791642 w 2369670"/>
                <a:gd name="connsiteY31" fmla="*/ 107721 h 1831253"/>
                <a:gd name="connsiteX32" fmla="*/ 1777108 w 2369670"/>
                <a:gd name="connsiteY32" fmla="*/ 107721 h 1831253"/>
                <a:gd name="connsiteX33" fmla="*/ 1723248 w 2369670"/>
                <a:gd name="connsiteY33" fmla="*/ 53860 h 1831253"/>
                <a:gd name="connsiteX34" fmla="*/ 1777108 w 2369670"/>
                <a:gd name="connsiteY34" fmla="*/ 0 h 1831253"/>
                <a:gd name="connsiteX35" fmla="*/ 2207896 w 2369670"/>
                <a:gd name="connsiteY35" fmla="*/ 0 h 1831253"/>
                <a:gd name="connsiteX36" fmla="*/ 2261757 w 2369670"/>
                <a:gd name="connsiteY36" fmla="*/ 53860 h 1831253"/>
                <a:gd name="connsiteX37" fmla="*/ 2207896 w 2369670"/>
                <a:gd name="connsiteY37" fmla="*/ 107721 h 1831253"/>
                <a:gd name="connsiteX38" fmla="*/ 2193362 w 2369670"/>
                <a:gd name="connsiteY38" fmla="*/ 107721 h 1831253"/>
                <a:gd name="connsiteX39" fmla="*/ 2256912 w 2369670"/>
                <a:gd name="connsiteY39" fmla="*/ 559977 h 1831253"/>
                <a:gd name="connsiteX40" fmla="*/ 2317992 w 2369670"/>
                <a:gd name="connsiteY40" fmla="*/ 689356 h 1831253"/>
                <a:gd name="connsiteX41" fmla="*/ 2369477 w 2369670"/>
                <a:gd name="connsiteY41" fmla="*/ 861291 h 1831253"/>
                <a:gd name="connsiteX42" fmla="*/ 2369572 w 2369670"/>
                <a:gd name="connsiteY42" fmla="*/ 969677 h 1831253"/>
                <a:gd name="connsiteX43" fmla="*/ 2233164 w 2369670"/>
                <a:gd name="connsiteY43" fmla="*/ 755850 h 1831253"/>
                <a:gd name="connsiteX44" fmla="*/ 2233164 w 2369670"/>
                <a:gd name="connsiteY44" fmla="*/ 755850 h 1831253"/>
                <a:gd name="connsiteX45" fmla="*/ 2150806 w 2369670"/>
                <a:gd name="connsiteY45" fmla="*/ 578501 h 1831253"/>
                <a:gd name="connsiteX46" fmla="*/ 2150521 w 2369670"/>
                <a:gd name="connsiteY46" fmla="*/ 576886 h 1831253"/>
                <a:gd name="connsiteX47" fmla="*/ 2150331 w 2369670"/>
                <a:gd name="connsiteY47" fmla="*/ 575271 h 1831253"/>
                <a:gd name="connsiteX48" fmla="*/ 2084692 w 2369670"/>
                <a:gd name="connsiteY48" fmla="*/ 108006 h 1831253"/>
                <a:gd name="connsiteX49" fmla="*/ 1900503 w 2369670"/>
                <a:gd name="connsiteY49" fmla="*/ 108006 h 1831253"/>
                <a:gd name="connsiteX50" fmla="*/ 1835148 w 2369670"/>
                <a:gd name="connsiteY50" fmla="*/ 572706 h 1831253"/>
                <a:gd name="connsiteX51" fmla="*/ 1834958 w 2369670"/>
                <a:gd name="connsiteY51" fmla="*/ 574226 h 1831253"/>
                <a:gd name="connsiteX52" fmla="*/ 1834673 w 2369670"/>
                <a:gd name="connsiteY52" fmla="*/ 575746 h 1831253"/>
                <a:gd name="connsiteX53" fmla="*/ 1750890 w 2369670"/>
                <a:gd name="connsiteY53" fmla="*/ 756990 h 1831253"/>
                <a:gd name="connsiteX54" fmla="*/ 1750890 w 2369670"/>
                <a:gd name="connsiteY54" fmla="*/ 756990 h 1831253"/>
                <a:gd name="connsiteX55" fmla="*/ 1723248 w 2369670"/>
                <a:gd name="connsiteY55" fmla="*/ 844858 h 1831253"/>
                <a:gd name="connsiteX56" fmla="*/ 1723248 w 2369670"/>
                <a:gd name="connsiteY56" fmla="*/ 969582 h 1831253"/>
                <a:gd name="connsiteX57" fmla="*/ 2261851 w 2369670"/>
                <a:gd name="connsiteY57" fmla="*/ 969582 h 1831253"/>
                <a:gd name="connsiteX58" fmla="*/ 2261851 w 2369670"/>
                <a:gd name="connsiteY58" fmla="*/ 856637 h 1831253"/>
                <a:gd name="connsiteX59" fmla="*/ 2233164 w 2369670"/>
                <a:gd name="connsiteY59" fmla="*/ 755850 h 183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369670" h="1831253">
                  <a:moveTo>
                    <a:pt x="1507901" y="1624361"/>
                  </a:moveTo>
                  <a:cubicBezTo>
                    <a:pt x="1507901" y="1706434"/>
                    <a:pt x="1497452" y="1831253"/>
                    <a:pt x="1327321" y="1831253"/>
                  </a:cubicBezTo>
                  <a:cubicBezTo>
                    <a:pt x="1246483" y="1831253"/>
                    <a:pt x="350805" y="1831063"/>
                    <a:pt x="180675" y="1831063"/>
                  </a:cubicBezTo>
                  <a:cubicBezTo>
                    <a:pt x="10449" y="1831063"/>
                    <a:pt x="0" y="1707289"/>
                    <a:pt x="0" y="1625216"/>
                  </a:cubicBezTo>
                  <a:cubicBezTo>
                    <a:pt x="0" y="1548653"/>
                    <a:pt x="132609" y="1376717"/>
                    <a:pt x="285166" y="1298539"/>
                  </a:cubicBezTo>
                  <a:cubicBezTo>
                    <a:pt x="334656" y="1273176"/>
                    <a:pt x="376358" y="1252088"/>
                    <a:pt x="418059" y="1235179"/>
                  </a:cubicBezTo>
                  <a:cubicBezTo>
                    <a:pt x="381392" y="1323047"/>
                    <a:pt x="365529" y="1413669"/>
                    <a:pt x="365529" y="1482538"/>
                  </a:cubicBezTo>
                  <a:cubicBezTo>
                    <a:pt x="365529" y="1515595"/>
                    <a:pt x="392316" y="1542478"/>
                    <a:pt x="425469" y="1542478"/>
                  </a:cubicBezTo>
                  <a:cubicBezTo>
                    <a:pt x="458526" y="1542478"/>
                    <a:pt x="485408" y="1515690"/>
                    <a:pt x="485408" y="1482538"/>
                  </a:cubicBezTo>
                  <a:cubicBezTo>
                    <a:pt x="485408" y="1404930"/>
                    <a:pt x="512006" y="1286475"/>
                    <a:pt x="576411" y="1193098"/>
                  </a:cubicBezTo>
                  <a:cubicBezTo>
                    <a:pt x="624097" y="1186449"/>
                    <a:pt x="679477" y="1183029"/>
                    <a:pt x="748631" y="1182839"/>
                  </a:cubicBezTo>
                  <a:cubicBezTo>
                    <a:pt x="694201" y="1285905"/>
                    <a:pt x="671213" y="1399800"/>
                    <a:pt x="671213" y="1482443"/>
                  </a:cubicBezTo>
                  <a:cubicBezTo>
                    <a:pt x="671213" y="1515500"/>
                    <a:pt x="698000" y="1542383"/>
                    <a:pt x="731153" y="1542383"/>
                  </a:cubicBezTo>
                  <a:cubicBezTo>
                    <a:pt x="764210" y="1542383"/>
                    <a:pt x="791092" y="1515595"/>
                    <a:pt x="791092" y="1482443"/>
                  </a:cubicBezTo>
                  <a:cubicBezTo>
                    <a:pt x="791092" y="1403315"/>
                    <a:pt x="818640" y="1281915"/>
                    <a:pt x="885704" y="1187873"/>
                  </a:cubicBezTo>
                  <a:cubicBezTo>
                    <a:pt x="954193" y="1193668"/>
                    <a:pt x="1007769" y="1204687"/>
                    <a:pt x="1057260" y="1220551"/>
                  </a:cubicBezTo>
                  <a:cubicBezTo>
                    <a:pt x="1016033" y="1312883"/>
                    <a:pt x="998270" y="1409774"/>
                    <a:pt x="998270" y="1482443"/>
                  </a:cubicBezTo>
                  <a:cubicBezTo>
                    <a:pt x="998270" y="1515500"/>
                    <a:pt x="1025057" y="1542383"/>
                    <a:pt x="1058209" y="1542383"/>
                  </a:cubicBezTo>
                  <a:cubicBezTo>
                    <a:pt x="1091267" y="1542383"/>
                    <a:pt x="1118149" y="1515595"/>
                    <a:pt x="1118149" y="1482443"/>
                  </a:cubicBezTo>
                  <a:cubicBezTo>
                    <a:pt x="1118149" y="1424023"/>
                    <a:pt x="1133158" y="1342520"/>
                    <a:pt x="1167925" y="1265862"/>
                  </a:cubicBezTo>
                  <a:cubicBezTo>
                    <a:pt x="1184549" y="1273841"/>
                    <a:pt x="1201362" y="1282200"/>
                    <a:pt x="1219221" y="1291319"/>
                  </a:cubicBezTo>
                  <a:cubicBezTo>
                    <a:pt x="1360189" y="1364083"/>
                    <a:pt x="1507901" y="1542288"/>
                    <a:pt x="1507901" y="1624361"/>
                  </a:cubicBezTo>
                  <a:close/>
                  <a:moveTo>
                    <a:pt x="2369572" y="969677"/>
                  </a:moveTo>
                  <a:lnTo>
                    <a:pt x="2369572" y="1658083"/>
                  </a:lnTo>
                  <a:cubicBezTo>
                    <a:pt x="2369572" y="1658083"/>
                    <a:pt x="2375177" y="1831253"/>
                    <a:pt x="2231264" y="1831253"/>
                  </a:cubicBezTo>
                  <a:lnTo>
                    <a:pt x="1753455" y="1831158"/>
                  </a:lnTo>
                  <a:cubicBezTo>
                    <a:pt x="1621511" y="1831158"/>
                    <a:pt x="1615622" y="1685726"/>
                    <a:pt x="1615622" y="1661408"/>
                  </a:cubicBezTo>
                  <a:lnTo>
                    <a:pt x="1615622" y="969487"/>
                  </a:lnTo>
                  <a:lnTo>
                    <a:pt x="1615622" y="844763"/>
                  </a:lnTo>
                  <a:cubicBezTo>
                    <a:pt x="1615622" y="755565"/>
                    <a:pt x="1661883" y="695720"/>
                    <a:pt x="1667107" y="689261"/>
                  </a:cubicBezTo>
                  <a:cubicBezTo>
                    <a:pt x="1667487" y="688786"/>
                    <a:pt x="1716693" y="626566"/>
                    <a:pt x="1728472" y="557507"/>
                  </a:cubicBezTo>
                  <a:lnTo>
                    <a:pt x="1791642" y="107721"/>
                  </a:lnTo>
                  <a:lnTo>
                    <a:pt x="1777108" y="107721"/>
                  </a:lnTo>
                  <a:cubicBezTo>
                    <a:pt x="1747376" y="107721"/>
                    <a:pt x="1723248" y="83593"/>
                    <a:pt x="1723248" y="53860"/>
                  </a:cubicBezTo>
                  <a:cubicBezTo>
                    <a:pt x="1723248" y="24128"/>
                    <a:pt x="1747376" y="0"/>
                    <a:pt x="1777108" y="0"/>
                  </a:cubicBezTo>
                  <a:lnTo>
                    <a:pt x="2207896" y="0"/>
                  </a:lnTo>
                  <a:cubicBezTo>
                    <a:pt x="2237629" y="0"/>
                    <a:pt x="2261757" y="24128"/>
                    <a:pt x="2261757" y="53860"/>
                  </a:cubicBezTo>
                  <a:cubicBezTo>
                    <a:pt x="2261757" y="83593"/>
                    <a:pt x="2237629" y="107721"/>
                    <a:pt x="2207896" y="107721"/>
                  </a:cubicBezTo>
                  <a:lnTo>
                    <a:pt x="2193362" y="107721"/>
                  </a:lnTo>
                  <a:lnTo>
                    <a:pt x="2256912" y="559977"/>
                  </a:lnTo>
                  <a:cubicBezTo>
                    <a:pt x="2268311" y="626471"/>
                    <a:pt x="2317517" y="688691"/>
                    <a:pt x="2317992" y="689356"/>
                  </a:cubicBezTo>
                  <a:cubicBezTo>
                    <a:pt x="2370617" y="756800"/>
                    <a:pt x="2370332" y="841533"/>
                    <a:pt x="2369477" y="861291"/>
                  </a:cubicBezTo>
                  <a:lnTo>
                    <a:pt x="2369572" y="969677"/>
                  </a:lnTo>
                  <a:close/>
                  <a:moveTo>
                    <a:pt x="2233164" y="755850"/>
                  </a:moveTo>
                  <a:lnTo>
                    <a:pt x="2233164" y="755850"/>
                  </a:lnTo>
                  <a:cubicBezTo>
                    <a:pt x="2221005" y="740367"/>
                    <a:pt x="2165910" y="666463"/>
                    <a:pt x="2150806" y="578501"/>
                  </a:cubicBezTo>
                  <a:lnTo>
                    <a:pt x="2150521" y="576886"/>
                  </a:lnTo>
                  <a:lnTo>
                    <a:pt x="2150331" y="575271"/>
                  </a:lnTo>
                  <a:lnTo>
                    <a:pt x="2084692" y="108006"/>
                  </a:lnTo>
                  <a:lnTo>
                    <a:pt x="1900503" y="108006"/>
                  </a:lnTo>
                  <a:lnTo>
                    <a:pt x="1835148" y="572706"/>
                  </a:lnTo>
                  <a:lnTo>
                    <a:pt x="1834958" y="574226"/>
                  </a:lnTo>
                  <a:lnTo>
                    <a:pt x="1834673" y="575746"/>
                  </a:lnTo>
                  <a:cubicBezTo>
                    <a:pt x="1819094" y="667413"/>
                    <a:pt x="1761434" y="743691"/>
                    <a:pt x="1750890" y="756990"/>
                  </a:cubicBezTo>
                  <a:lnTo>
                    <a:pt x="1750890" y="756990"/>
                  </a:lnTo>
                  <a:cubicBezTo>
                    <a:pt x="1750795" y="757085"/>
                    <a:pt x="1723248" y="793087"/>
                    <a:pt x="1723248" y="844858"/>
                  </a:cubicBezTo>
                  <a:lnTo>
                    <a:pt x="1723248" y="969582"/>
                  </a:lnTo>
                  <a:lnTo>
                    <a:pt x="2261851" y="969582"/>
                  </a:lnTo>
                  <a:lnTo>
                    <a:pt x="2261851" y="856637"/>
                  </a:lnTo>
                  <a:cubicBezTo>
                    <a:pt x="2262896" y="834124"/>
                    <a:pt x="2257862" y="787483"/>
                    <a:pt x="2233164" y="755850"/>
                  </a:cubicBezTo>
                  <a:close/>
                </a:path>
              </a:pathLst>
            </a:custGeom>
            <a:solidFill>
              <a:schemeClr val="accent2"/>
            </a:solidFill>
            <a:ln w="9499"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FFB9"/>
                </a:solidFill>
                <a:effectLst/>
                <a:uLnTx/>
                <a:uFillTx/>
                <a:latin typeface="Arial"/>
                <a:ea typeface="+mn-ea"/>
                <a:cs typeface="+mn-cs"/>
              </a:endParaRPr>
            </a:p>
          </p:txBody>
        </p:sp>
        <p:sp>
          <p:nvSpPr>
            <p:cNvPr id="98" name="Freeform 115">
              <a:extLst>
                <a:ext uri="{FF2B5EF4-FFF2-40B4-BE49-F238E27FC236}">
                  <a16:creationId xmlns:a16="http://schemas.microsoft.com/office/drawing/2014/main" id="{F0976BE5-E92E-FD48-A2A7-D866C03B7074}"/>
                </a:ext>
              </a:extLst>
            </p:cNvPr>
            <p:cNvSpPr/>
            <p:nvPr/>
          </p:nvSpPr>
          <p:spPr bwMode="auto">
            <a:xfrm>
              <a:off x="6186445" y="4163287"/>
              <a:ext cx="3131770" cy="1072304"/>
            </a:xfrm>
            <a:custGeom>
              <a:avLst/>
              <a:gdLst>
                <a:gd name="connsiteX0" fmla="*/ 0 w 2993813"/>
                <a:gd name="connsiteY0" fmla="*/ 0 h 1266613"/>
                <a:gd name="connsiteX1" fmla="*/ 927946 w 2993813"/>
                <a:gd name="connsiteY1" fmla="*/ 927946 h 1266613"/>
                <a:gd name="connsiteX2" fmla="*/ 1754293 w 2993813"/>
                <a:gd name="connsiteY2" fmla="*/ 927946 h 1266613"/>
                <a:gd name="connsiteX3" fmla="*/ 2092960 w 2993813"/>
                <a:gd name="connsiteY3" fmla="*/ 1266613 h 1266613"/>
                <a:gd name="connsiteX4" fmla="*/ 2993813 w 2993813"/>
                <a:gd name="connsiteY4" fmla="*/ 1266613 h 1266613"/>
                <a:gd name="connsiteX0" fmla="*/ 0 w 2092960"/>
                <a:gd name="connsiteY0" fmla="*/ 0 h 1266613"/>
                <a:gd name="connsiteX1" fmla="*/ 927946 w 2092960"/>
                <a:gd name="connsiteY1" fmla="*/ 927946 h 1266613"/>
                <a:gd name="connsiteX2" fmla="*/ 1754293 w 2092960"/>
                <a:gd name="connsiteY2" fmla="*/ 927946 h 1266613"/>
                <a:gd name="connsiteX3" fmla="*/ 2092960 w 2092960"/>
                <a:gd name="connsiteY3" fmla="*/ 1266613 h 1266613"/>
                <a:gd name="connsiteX0" fmla="*/ 0 w 1754293"/>
                <a:gd name="connsiteY0" fmla="*/ 0 h 927946"/>
                <a:gd name="connsiteX1" fmla="*/ 927946 w 1754293"/>
                <a:gd name="connsiteY1" fmla="*/ 927946 h 927946"/>
                <a:gd name="connsiteX2" fmla="*/ 1754293 w 1754293"/>
                <a:gd name="connsiteY2" fmla="*/ 927946 h 927946"/>
                <a:gd name="connsiteX0" fmla="*/ 0 w 2568942"/>
                <a:gd name="connsiteY0" fmla="*/ 0 h 927946"/>
                <a:gd name="connsiteX1" fmla="*/ 927946 w 2568942"/>
                <a:gd name="connsiteY1" fmla="*/ 927946 h 927946"/>
                <a:gd name="connsiteX2" fmla="*/ 2568942 w 2568942"/>
                <a:gd name="connsiteY2" fmla="*/ 920505 h 927946"/>
                <a:gd name="connsiteX0" fmla="*/ 0 w 2542661"/>
                <a:gd name="connsiteY0" fmla="*/ 0 h 927946"/>
                <a:gd name="connsiteX1" fmla="*/ 927946 w 2542661"/>
                <a:gd name="connsiteY1" fmla="*/ 927946 h 927946"/>
                <a:gd name="connsiteX2" fmla="*/ 2542661 w 2542661"/>
                <a:gd name="connsiteY2" fmla="*/ 924277 h 927946"/>
                <a:gd name="connsiteX0" fmla="*/ 0 w 2255600"/>
                <a:gd name="connsiteY0" fmla="*/ 0 h 927946"/>
                <a:gd name="connsiteX1" fmla="*/ 927946 w 2255600"/>
                <a:gd name="connsiteY1" fmla="*/ 927946 h 927946"/>
                <a:gd name="connsiteX2" fmla="*/ 2255600 w 2255600"/>
                <a:gd name="connsiteY2" fmla="*/ 924277 h 927946"/>
                <a:gd name="connsiteX0" fmla="*/ 0 w 3394274"/>
                <a:gd name="connsiteY0" fmla="*/ 0 h 933892"/>
                <a:gd name="connsiteX1" fmla="*/ 927946 w 3394274"/>
                <a:gd name="connsiteY1" fmla="*/ 927946 h 933892"/>
                <a:gd name="connsiteX2" fmla="*/ 3394274 w 3394274"/>
                <a:gd name="connsiteY2" fmla="*/ 933892 h 933892"/>
                <a:gd name="connsiteX0" fmla="*/ 0 w 3748315"/>
                <a:gd name="connsiteY0" fmla="*/ 0 h 1280020"/>
                <a:gd name="connsiteX1" fmla="*/ 1281987 w 3748315"/>
                <a:gd name="connsiteY1" fmla="*/ 1274074 h 1280020"/>
                <a:gd name="connsiteX2" fmla="*/ 3748315 w 3748315"/>
                <a:gd name="connsiteY2" fmla="*/ 1280020 h 1280020"/>
                <a:gd name="connsiteX0" fmla="*/ 0 w 3710771"/>
                <a:gd name="connsiteY0" fmla="*/ 0 h 1276248"/>
                <a:gd name="connsiteX1" fmla="*/ 1281987 w 3710771"/>
                <a:gd name="connsiteY1" fmla="*/ 1274074 h 1276248"/>
                <a:gd name="connsiteX2" fmla="*/ 3710771 w 3710771"/>
                <a:gd name="connsiteY2" fmla="*/ 1276248 h 1276248"/>
                <a:gd name="connsiteX0" fmla="*/ 0 w 3703262"/>
                <a:gd name="connsiteY0" fmla="*/ 0 h 1274074"/>
                <a:gd name="connsiteX1" fmla="*/ 1281987 w 3703262"/>
                <a:gd name="connsiteY1" fmla="*/ 1274074 h 1274074"/>
                <a:gd name="connsiteX2" fmla="*/ 3703262 w 3703262"/>
                <a:gd name="connsiteY2" fmla="*/ 1268703 h 1274074"/>
              </a:gdLst>
              <a:ahLst/>
              <a:cxnLst>
                <a:cxn ang="0">
                  <a:pos x="connsiteX0" y="connsiteY0"/>
                </a:cxn>
                <a:cxn ang="0">
                  <a:pos x="connsiteX1" y="connsiteY1"/>
                </a:cxn>
                <a:cxn ang="0">
                  <a:pos x="connsiteX2" y="connsiteY2"/>
                </a:cxn>
              </a:cxnLst>
              <a:rect l="l" t="t" r="r" b="b"/>
              <a:pathLst>
                <a:path w="3703262" h="1274074">
                  <a:moveTo>
                    <a:pt x="0" y="0"/>
                  </a:moveTo>
                  <a:lnTo>
                    <a:pt x="1281987" y="1274074"/>
                  </a:lnTo>
                  <a:lnTo>
                    <a:pt x="3703262" y="1268703"/>
                  </a:lnTo>
                </a:path>
              </a:pathLst>
            </a:custGeom>
            <a:noFill/>
            <a:ln w="19050">
              <a:solidFill>
                <a:schemeClr val="accent2"/>
              </a:solidFill>
              <a:prstDash val="solid"/>
              <a:miter lim="800000"/>
              <a:headEnd/>
              <a:tailEnd/>
              <a:extLst>
                <a:ext uri="{C807C97D-BFC1-408E-A445-0C87EB9F89A2}">
                  <ask:lineSketchStyleProps xmlns:ask="http://schemas.microsoft.com/office/drawing/2018/sketchyshapes">
                    <ask:type>
                      <ask:lineSketchNone/>
                    </ask:type>
                  </ask:lineSketchStyleProps>
                </a:ext>
              </a:extLst>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lvl="0" indent="0" algn="l" defTabSz="913943" eaLnBrk="1" fontAlgn="base" latinLnBrk="0" hangingPunct="1">
                <a:lnSpc>
                  <a:spcPct val="100000"/>
                </a:lnSpc>
                <a:spcBef>
                  <a:spcPct val="50000"/>
                </a:spcBef>
                <a:spcAft>
                  <a:spcPct val="0"/>
                </a:spcAft>
                <a:buClrTx/>
                <a:buSzTx/>
                <a:buFontTx/>
                <a:buNone/>
                <a:tabLst/>
                <a:defRPr/>
              </a:pPr>
              <a:endParaRPr kumimoji="0" lang="en-US" sz="2399" b="0" i="0" u="none" strike="noStrike" kern="1200" cap="none" spc="0" normalizeH="0" baseline="0" noProof="0">
                <a:ln>
                  <a:noFill/>
                </a:ln>
                <a:solidFill>
                  <a:srgbClr val="00FFB9"/>
                </a:solidFill>
                <a:effectLst/>
                <a:uLnTx/>
                <a:uFillTx/>
                <a:latin typeface="Arial"/>
                <a:ea typeface="ヒラギノ角ゴ Pro W3" charset="0"/>
                <a:cs typeface="+mn-cs"/>
              </a:endParaRPr>
            </a:p>
          </p:txBody>
        </p:sp>
      </p:grpSp>
      <p:grpSp>
        <p:nvGrpSpPr>
          <p:cNvPr id="85" name="Gruppieren 84">
            <a:extLst>
              <a:ext uri="{FF2B5EF4-FFF2-40B4-BE49-F238E27FC236}">
                <a16:creationId xmlns:a16="http://schemas.microsoft.com/office/drawing/2014/main" id="{67DB4FEB-08E2-A84B-BFBB-26DE68D1C076}"/>
              </a:ext>
            </a:extLst>
          </p:cNvPr>
          <p:cNvGrpSpPr/>
          <p:nvPr/>
        </p:nvGrpSpPr>
        <p:grpSpPr>
          <a:xfrm>
            <a:off x="5048113" y="2959173"/>
            <a:ext cx="1822438" cy="1813724"/>
            <a:chOff x="4706908" y="2976694"/>
            <a:chExt cx="1822438" cy="1813724"/>
          </a:xfrm>
        </p:grpSpPr>
        <p:sp>
          <p:nvSpPr>
            <p:cNvPr id="89" name="Oval 88">
              <a:extLst>
                <a:ext uri="{FF2B5EF4-FFF2-40B4-BE49-F238E27FC236}">
                  <a16:creationId xmlns:a16="http://schemas.microsoft.com/office/drawing/2014/main" id="{80272F2A-BB2D-1443-8E4F-285CB86E633D}"/>
                </a:ext>
              </a:extLst>
            </p:cNvPr>
            <p:cNvSpPr/>
            <p:nvPr/>
          </p:nvSpPr>
          <p:spPr>
            <a:xfrm>
              <a:off x="4706908" y="2976694"/>
              <a:ext cx="1822438" cy="1813724"/>
            </a:xfrm>
            <a:prstGeom prst="ellipse">
              <a:avLst/>
            </a:prstGeom>
            <a:gradFill>
              <a:gsLst>
                <a:gs pos="0">
                  <a:schemeClr val="accent3"/>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nchorCtr="0"/>
            <a:lstStyle/>
            <a:p>
              <a:pPr marL="0" marR="0" lvl="0" indent="0" algn="ctr" defTabSz="914400" eaLnBrk="1" fontAlgn="auto" latinLnBrk="0" hangingPunct="1">
                <a:lnSpc>
                  <a:spcPct val="110000"/>
                </a:lnSpc>
                <a:spcBef>
                  <a:spcPct val="0"/>
                </a:spcBef>
                <a:spcAft>
                  <a:spcPts val="0"/>
                </a:spcAft>
                <a:buClrTx/>
                <a:buSzTx/>
                <a:buFontTx/>
                <a:buNone/>
                <a:tabLst/>
                <a:defRPr/>
              </a:pPr>
              <a:endParaRPr kumimoji="0" lang="en-US" sz="1799" b="1"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914400" eaLnBrk="1" fontAlgn="auto" latinLnBrk="0" hangingPunct="1">
                <a:lnSpc>
                  <a:spcPct val="110000"/>
                </a:lnSpc>
                <a:spcBef>
                  <a:spcPct val="0"/>
                </a:spcBef>
                <a:spcAft>
                  <a:spcPts val="0"/>
                </a:spcAft>
                <a:buClrTx/>
                <a:buSzTx/>
                <a:buFontTx/>
                <a:buNone/>
                <a:tabLst/>
                <a:defRPr/>
              </a:pPr>
              <a:endParaRPr kumimoji="0" lang="en-US" sz="1799" b="1"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914400" eaLnBrk="1" fontAlgn="auto" latinLnBrk="0" hangingPunct="1">
                <a:lnSpc>
                  <a:spcPct val="100000"/>
                </a:lnSpc>
                <a:spcBef>
                  <a:spcPct val="0"/>
                </a:spcBef>
                <a:spcAft>
                  <a:spcPts val="0"/>
                </a:spcAft>
                <a:buClrTx/>
                <a:buSzTx/>
                <a:buFontTx/>
                <a:buNone/>
                <a:tabLst/>
                <a:defRPr/>
              </a:pPr>
              <a:r>
                <a:rPr kumimoji="0" lang="en-US" sz="1799" b="1" i="0" u="none" strike="noStrike" kern="1200" cap="none" spc="0" normalizeH="0" baseline="0" noProof="0">
                  <a:ln>
                    <a:noFill/>
                  </a:ln>
                  <a:solidFill>
                    <a:prstClr val="white"/>
                  </a:solidFill>
                  <a:effectLst/>
                  <a:uLnTx/>
                  <a:uFillTx/>
                  <a:latin typeface="Arial"/>
                  <a:ea typeface="+mn-ea"/>
                  <a:cs typeface="+mn-cs"/>
                </a:rPr>
                <a:t>Artificial</a:t>
              </a:r>
              <a:br>
                <a:rPr kumimoji="0" lang="en-US" sz="1799" b="1" i="0" u="none" strike="noStrike" kern="1200" cap="none" spc="0" normalizeH="0" baseline="0" noProof="0">
                  <a:ln>
                    <a:noFill/>
                  </a:ln>
                  <a:solidFill>
                    <a:prstClr val="white"/>
                  </a:solidFill>
                  <a:effectLst/>
                  <a:uLnTx/>
                  <a:uFillTx/>
                  <a:latin typeface="Arial"/>
                  <a:ea typeface="+mn-ea"/>
                  <a:cs typeface="+mn-cs"/>
                </a:rPr>
              </a:br>
              <a:r>
                <a:rPr kumimoji="0" lang="en-US" sz="1799" b="1" i="0" u="none" strike="noStrike" kern="1200" cap="none" spc="0" normalizeH="0" baseline="0" noProof="0">
                  <a:ln>
                    <a:noFill/>
                  </a:ln>
                  <a:solidFill>
                    <a:prstClr val="white"/>
                  </a:solidFill>
                  <a:effectLst/>
                  <a:uLnTx/>
                  <a:uFillTx/>
                  <a:latin typeface="Arial"/>
                  <a:ea typeface="+mn-ea"/>
                  <a:cs typeface="+mn-cs"/>
                </a:rPr>
                <a:t>Intelligence</a:t>
              </a:r>
            </a:p>
          </p:txBody>
        </p:sp>
        <p:sp>
          <p:nvSpPr>
            <p:cNvPr id="91" name="Freihandform 90">
              <a:extLst>
                <a:ext uri="{FF2B5EF4-FFF2-40B4-BE49-F238E27FC236}">
                  <a16:creationId xmlns:a16="http://schemas.microsoft.com/office/drawing/2014/main" id="{D7E3B928-1D57-B94C-9E23-040BFDA49451}"/>
                </a:ext>
              </a:extLst>
            </p:cNvPr>
            <p:cNvSpPr/>
            <p:nvPr/>
          </p:nvSpPr>
          <p:spPr>
            <a:xfrm>
              <a:off x="5289674" y="3179569"/>
              <a:ext cx="608539" cy="605664"/>
            </a:xfrm>
            <a:custGeom>
              <a:avLst/>
              <a:gdLst>
                <a:gd name="connsiteX0" fmla="*/ 1421467 w 2526624"/>
                <a:gd name="connsiteY0" fmla="*/ 1947643 h 2526766"/>
                <a:gd name="connsiteX1" fmla="*/ 1421467 w 2526624"/>
                <a:gd name="connsiteY1" fmla="*/ 1616808 h 2526766"/>
                <a:gd name="connsiteX2" fmla="*/ 1117680 w 2526624"/>
                <a:gd name="connsiteY2" fmla="*/ 1616808 h 2526766"/>
                <a:gd name="connsiteX3" fmla="*/ 916485 w 2526624"/>
                <a:gd name="connsiteY3" fmla="*/ 1516253 h 2526766"/>
                <a:gd name="connsiteX4" fmla="*/ 815930 w 2526624"/>
                <a:gd name="connsiteY4" fmla="*/ 1717448 h 2526766"/>
                <a:gd name="connsiteX5" fmla="*/ 1017125 w 2526624"/>
                <a:gd name="connsiteY5" fmla="*/ 1818003 h 2526766"/>
                <a:gd name="connsiteX6" fmla="*/ 1117564 w 2526624"/>
                <a:gd name="connsiteY6" fmla="*/ 1717793 h 2526766"/>
                <a:gd name="connsiteX7" fmla="*/ 1320482 w 2526624"/>
                <a:gd name="connsiteY7" fmla="*/ 1717793 h 2526766"/>
                <a:gd name="connsiteX8" fmla="*/ 1320482 w 2526624"/>
                <a:gd name="connsiteY8" fmla="*/ 1947522 h 2526766"/>
                <a:gd name="connsiteX9" fmla="*/ 1219914 w 2526624"/>
                <a:gd name="connsiteY9" fmla="*/ 2148714 h 2526766"/>
                <a:gd name="connsiteX10" fmla="*/ 1421106 w 2526624"/>
                <a:gd name="connsiteY10" fmla="*/ 2249282 h 2526766"/>
                <a:gd name="connsiteX11" fmla="*/ 1521675 w 2526624"/>
                <a:gd name="connsiteY11" fmla="*/ 2048090 h 2526766"/>
                <a:gd name="connsiteX12" fmla="*/ 1421466 w 2526624"/>
                <a:gd name="connsiteY12" fmla="*/ 1947642 h 2526766"/>
                <a:gd name="connsiteX13" fmla="*/ 967782 w 2526624"/>
                <a:gd name="connsiteY13" fmla="*/ 1723841 h 2526766"/>
                <a:gd name="connsiteX14" fmla="*/ 910529 w 2526624"/>
                <a:gd name="connsiteY14" fmla="*/ 1668014 h 2526766"/>
                <a:gd name="connsiteX15" fmla="*/ 966356 w 2526624"/>
                <a:gd name="connsiteY15" fmla="*/ 1610760 h 2526766"/>
                <a:gd name="connsiteX16" fmla="*/ 1023610 w 2526624"/>
                <a:gd name="connsiteY16" fmla="*/ 1666587 h 2526766"/>
                <a:gd name="connsiteX17" fmla="*/ 1023610 w 2526624"/>
                <a:gd name="connsiteY17" fmla="*/ 1666591 h 2526766"/>
                <a:gd name="connsiteX18" fmla="*/ 967782 w 2526624"/>
                <a:gd name="connsiteY18" fmla="*/ 1723841 h 2526766"/>
                <a:gd name="connsiteX19" fmla="*/ 1078141 w 2526624"/>
                <a:gd name="connsiteY19" fmla="*/ 309882 h 2526766"/>
                <a:gd name="connsiteX20" fmla="*/ 1078141 w 2526624"/>
                <a:gd name="connsiteY20" fmla="*/ 449577 h 2526766"/>
                <a:gd name="connsiteX21" fmla="*/ 1293552 w 2526624"/>
                <a:gd name="connsiteY21" fmla="*/ 664988 h 2526766"/>
                <a:gd name="connsiteX22" fmla="*/ 1293552 w 2526624"/>
                <a:gd name="connsiteY22" fmla="*/ 735819 h 2526766"/>
                <a:gd name="connsiteX23" fmla="*/ 1192980 w 2526624"/>
                <a:gd name="connsiteY23" fmla="*/ 937015 h 2526766"/>
                <a:gd name="connsiteX24" fmla="*/ 1394176 w 2526624"/>
                <a:gd name="connsiteY24" fmla="*/ 1037588 h 2526766"/>
                <a:gd name="connsiteX25" fmla="*/ 1494749 w 2526624"/>
                <a:gd name="connsiteY25" fmla="*/ 836391 h 2526766"/>
                <a:gd name="connsiteX26" fmla="*/ 1394537 w 2526624"/>
                <a:gd name="connsiteY26" fmla="*/ 735940 h 2526766"/>
                <a:gd name="connsiteX27" fmla="*/ 1394537 w 2526624"/>
                <a:gd name="connsiteY27" fmla="*/ 623169 h 2526766"/>
                <a:gd name="connsiteX28" fmla="*/ 1179126 w 2526624"/>
                <a:gd name="connsiteY28" fmla="*/ 407758 h 2526766"/>
                <a:gd name="connsiteX29" fmla="*/ 1179126 w 2526624"/>
                <a:gd name="connsiteY29" fmla="*/ 310007 h 2526766"/>
                <a:gd name="connsiteX30" fmla="*/ 1279720 w 2526624"/>
                <a:gd name="connsiteY30" fmla="*/ 108802 h 2526766"/>
                <a:gd name="connsiteX31" fmla="*/ 1078515 w 2526624"/>
                <a:gd name="connsiteY31" fmla="*/ 8207 h 2526766"/>
                <a:gd name="connsiteX32" fmla="*/ 977921 w 2526624"/>
                <a:gd name="connsiteY32" fmla="*/ 209412 h 2526766"/>
                <a:gd name="connsiteX33" fmla="*/ 1078141 w 2526624"/>
                <a:gd name="connsiteY33" fmla="*/ 309881 h 2526766"/>
                <a:gd name="connsiteX34" fmla="*/ 1344758 w 2526624"/>
                <a:gd name="connsiteY34" fmla="*/ 942964 h 2526766"/>
                <a:gd name="connsiteX35" fmla="*/ 1287500 w 2526624"/>
                <a:gd name="connsiteY35" fmla="*/ 887136 h 2526766"/>
                <a:gd name="connsiteX36" fmla="*/ 1343328 w 2526624"/>
                <a:gd name="connsiteY36" fmla="*/ 829879 h 2526766"/>
                <a:gd name="connsiteX37" fmla="*/ 1400586 w 2526624"/>
                <a:gd name="connsiteY37" fmla="*/ 885707 h 2526766"/>
                <a:gd name="connsiteX38" fmla="*/ 1400586 w 2526624"/>
                <a:gd name="connsiteY38" fmla="*/ 885714 h 2526766"/>
                <a:gd name="connsiteX39" fmla="*/ 1344758 w 2526624"/>
                <a:gd name="connsiteY39" fmla="*/ 942964 h 2526766"/>
                <a:gd name="connsiteX40" fmla="*/ 376683 w 2526624"/>
                <a:gd name="connsiteY40" fmla="*/ 614449 h 2526766"/>
                <a:gd name="connsiteX41" fmla="*/ 445381 w 2526624"/>
                <a:gd name="connsiteY41" fmla="*/ 597696 h 2526766"/>
                <a:gd name="connsiteX42" fmla="*/ 512671 w 2526624"/>
                <a:gd name="connsiteY42" fmla="*/ 664988 h 2526766"/>
                <a:gd name="connsiteX43" fmla="*/ 512671 w 2526624"/>
                <a:gd name="connsiteY43" fmla="*/ 924305 h 2526766"/>
                <a:gd name="connsiteX44" fmla="*/ 412112 w 2526624"/>
                <a:gd name="connsiteY44" fmla="*/ 1125501 h 2526766"/>
                <a:gd name="connsiteX45" fmla="*/ 613309 w 2526624"/>
                <a:gd name="connsiteY45" fmla="*/ 1226060 h 2526766"/>
                <a:gd name="connsiteX46" fmla="*/ 713867 w 2526624"/>
                <a:gd name="connsiteY46" fmla="*/ 1024863 h 2526766"/>
                <a:gd name="connsiteX47" fmla="*/ 613655 w 2526624"/>
                <a:gd name="connsiteY47" fmla="*/ 924421 h 2526766"/>
                <a:gd name="connsiteX48" fmla="*/ 613655 w 2526624"/>
                <a:gd name="connsiteY48" fmla="*/ 623169 h 2526766"/>
                <a:gd name="connsiteX49" fmla="*/ 516823 w 2526624"/>
                <a:gd name="connsiteY49" fmla="*/ 526331 h 2526766"/>
                <a:gd name="connsiteX50" fmla="*/ 445283 w 2526624"/>
                <a:gd name="connsiteY50" fmla="*/ 313451 h 2526766"/>
                <a:gd name="connsiteX51" fmla="*/ 232402 w 2526624"/>
                <a:gd name="connsiteY51" fmla="*/ 384991 h 2526766"/>
                <a:gd name="connsiteX52" fmla="*/ 303942 w 2526624"/>
                <a:gd name="connsiteY52" fmla="*/ 597871 h 2526766"/>
                <a:gd name="connsiteX53" fmla="*/ 376683 w 2526624"/>
                <a:gd name="connsiteY53" fmla="*/ 614449 h 2526766"/>
                <a:gd name="connsiteX54" fmla="*/ 563880 w 2526624"/>
                <a:gd name="connsiteY54" fmla="*/ 1131450 h 2526766"/>
                <a:gd name="connsiteX55" fmla="*/ 506626 w 2526624"/>
                <a:gd name="connsiteY55" fmla="*/ 1075622 h 2526766"/>
                <a:gd name="connsiteX56" fmla="*/ 562454 w 2526624"/>
                <a:gd name="connsiteY56" fmla="*/ 1018369 h 2526766"/>
                <a:gd name="connsiteX57" fmla="*/ 619708 w 2526624"/>
                <a:gd name="connsiteY57" fmla="*/ 1074197 h 2526766"/>
                <a:gd name="connsiteX58" fmla="*/ 619708 w 2526624"/>
                <a:gd name="connsiteY58" fmla="*/ 1074200 h 2526766"/>
                <a:gd name="connsiteX59" fmla="*/ 563880 w 2526624"/>
                <a:gd name="connsiteY59" fmla="*/ 1131450 h 2526766"/>
                <a:gd name="connsiteX60" fmla="*/ 853343 w 2526624"/>
                <a:gd name="connsiteY60" fmla="*/ 1421602 h 2526766"/>
                <a:gd name="connsiteX61" fmla="*/ 745633 w 2526624"/>
                <a:gd name="connsiteY61" fmla="*/ 1529303 h 2526766"/>
                <a:gd name="connsiteX62" fmla="*/ 632882 w 2526624"/>
                <a:gd name="connsiteY62" fmla="*/ 1529303 h 2526766"/>
                <a:gd name="connsiteX63" fmla="*/ 431823 w 2526624"/>
                <a:gd name="connsiteY63" fmla="*/ 1629038 h 2526766"/>
                <a:gd name="connsiteX64" fmla="*/ 332088 w 2526624"/>
                <a:gd name="connsiteY64" fmla="*/ 1427978 h 2526766"/>
                <a:gd name="connsiteX65" fmla="*/ 533147 w 2526624"/>
                <a:gd name="connsiteY65" fmla="*/ 1328243 h 2526766"/>
                <a:gd name="connsiteX66" fmla="*/ 632996 w 2526624"/>
                <a:gd name="connsiteY66" fmla="*/ 1428318 h 2526766"/>
                <a:gd name="connsiteX67" fmla="*/ 703814 w 2526624"/>
                <a:gd name="connsiteY67" fmla="*/ 1428318 h 2526766"/>
                <a:gd name="connsiteX68" fmla="*/ 811524 w 2526624"/>
                <a:gd name="connsiteY68" fmla="*/ 1320617 h 2526766"/>
                <a:gd name="connsiteX69" fmla="*/ 1193550 w 2526624"/>
                <a:gd name="connsiteY69" fmla="*/ 1320617 h 2526766"/>
                <a:gd name="connsiteX70" fmla="*/ 1394604 w 2526624"/>
                <a:gd name="connsiteY70" fmla="*/ 1220890 h 2526766"/>
                <a:gd name="connsiteX71" fmla="*/ 1494331 w 2526624"/>
                <a:gd name="connsiteY71" fmla="*/ 1421944 h 2526766"/>
                <a:gd name="connsiteX72" fmla="*/ 1293277 w 2526624"/>
                <a:gd name="connsiteY72" fmla="*/ 1521671 h 2526766"/>
                <a:gd name="connsiteX73" fmla="*/ 1193435 w 2526624"/>
                <a:gd name="connsiteY73" fmla="*/ 1421602 h 2526766"/>
                <a:gd name="connsiteX74" fmla="*/ 674231 w 2526624"/>
                <a:gd name="connsiteY74" fmla="*/ 390657 h 2526766"/>
                <a:gd name="connsiteX75" fmla="*/ 674231 w 2526624"/>
                <a:gd name="connsiteY75" fmla="*/ 503427 h 2526766"/>
                <a:gd name="connsiteX76" fmla="*/ 916572 w 2526624"/>
                <a:gd name="connsiteY76" fmla="*/ 745768 h 2526766"/>
                <a:gd name="connsiteX77" fmla="*/ 916572 w 2526624"/>
                <a:gd name="connsiteY77" fmla="*/ 924309 h 2526766"/>
                <a:gd name="connsiteX78" fmla="*/ 816028 w 2526624"/>
                <a:gd name="connsiteY78" fmla="*/ 1125505 h 2526766"/>
                <a:gd name="connsiteX79" fmla="*/ 1017224 w 2526624"/>
                <a:gd name="connsiteY79" fmla="*/ 1226049 h 2526766"/>
                <a:gd name="connsiteX80" fmla="*/ 1117767 w 2526624"/>
                <a:gd name="connsiteY80" fmla="*/ 1024853 h 2526766"/>
                <a:gd name="connsiteX81" fmla="*/ 1017556 w 2526624"/>
                <a:gd name="connsiteY81" fmla="*/ 924420 h 2526766"/>
                <a:gd name="connsiteX82" fmla="*/ 1017556 w 2526624"/>
                <a:gd name="connsiteY82" fmla="*/ 703949 h 2526766"/>
                <a:gd name="connsiteX83" fmla="*/ 775216 w 2526624"/>
                <a:gd name="connsiteY83" fmla="*/ 461609 h 2526766"/>
                <a:gd name="connsiteX84" fmla="*/ 775216 w 2526624"/>
                <a:gd name="connsiteY84" fmla="*/ 390787 h 2526766"/>
                <a:gd name="connsiteX85" fmla="*/ 875818 w 2526624"/>
                <a:gd name="connsiteY85" fmla="*/ 189588 h 2526766"/>
                <a:gd name="connsiteX86" fmla="*/ 674619 w 2526624"/>
                <a:gd name="connsiteY86" fmla="*/ 88986 h 2526766"/>
                <a:gd name="connsiteX87" fmla="*/ 574017 w 2526624"/>
                <a:gd name="connsiteY87" fmla="*/ 290185 h 2526766"/>
                <a:gd name="connsiteX88" fmla="*/ 674231 w 2526624"/>
                <a:gd name="connsiteY88" fmla="*/ 390657 h 2526766"/>
                <a:gd name="connsiteX89" fmla="*/ 724019 w 2526624"/>
                <a:gd name="connsiteY89" fmla="*/ 183637 h 2526766"/>
                <a:gd name="connsiteX90" fmla="*/ 781266 w 2526624"/>
                <a:gd name="connsiteY90" fmla="*/ 239471 h 2526766"/>
                <a:gd name="connsiteX91" fmla="*/ 725431 w 2526624"/>
                <a:gd name="connsiteY91" fmla="*/ 296718 h 2526766"/>
                <a:gd name="connsiteX92" fmla="*/ 668185 w 2526624"/>
                <a:gd name="connsiteY92" fmla="*/ 240887 h 2526766"/>
                <a:gd name="connsiteX93" fmla="*/ 724015 w 2526624"/>
                <a:gd name="connsiteY93" fmla="*/ 183637 h 2526766"/>
                <a:gd name="connsiteX94" fmla="*/ 724019 w 2526624"/>
                <a:gd name="connsiteY94" fmla="*/ 183637 h 2526766"/>
                <a:gd name="connsiteX95" fmla="*/ 1859014 w 2526624"/>
                <a:gd name="connsiteY95" fmla="*/ 471437 h 2526766"/>
                <a:gd name="connsiteX96" fmla="*/ 1859014 w 2526624"/>
                <a:gd name="connsiteY96" fmla="*/ 667641 h 2526766"/>
                <a:gd name="connsiteX97" fmla="*/ 2055091 w 2526624"/>
                <a:gd name="connsiteY97" fmla="*/ 667641 h 2526766"/>
                <a:gd name="connsiteX98" fmla="*/ 2256284 w 2526624"/>
                <a:gd name="connsiteY98" fmla="*/ 768214 h 2526766"/>
                <a:gd name="connsiteX99" fmla="*/ 2356857 w 2526624"/>
                <a:gd name="connsiteY99" fmla="*/ 567020 h 2526766"/>
                <a:gd name="connsiteX100" fmla="*/ 2155663 w 2526624"/>
                <a:gd name="connsiteY100" fmla="*/ 466448 h 2526766"/>
                <a:gd name="connsiteX101" fmla="*/ 2055213 w 2526624"/>
                <a:gd name="connsiteY101" fmla="*/ 566657 h 2526766"/>
                <a:gd name="connsiteX102" fmla="*/ 1959998 w 2526624"/>
                <a:gd name="connsiteY102" fmla="*/ 566656 h 2526766"/>
                <a:gd name="connsiteX103" fmla="*/ 1959998 w 2526624"/>
                <a:gd name="connsiteY103" fmla="*/ 471567 h 2526766"/>
                <a:gd name="connsiteX104" fmla="*/ 2060602 w 2526624"/>
                <a:gd name="connsiteY104" fmla="*/ 270366 h 2526766"/>
                <a:gd name="connsiteX105" fmla="*/ 1859401 w 2526624"/>
                <a:gd name="connsiteY105" fmla="*/ 169762 h 2526766"/>
                <a:gd name="connsiteX106" fmla="*/ 1758797 w 2526624"/>
                <a:gd name="connsiteY106" fmla="*/ 370963 h 2526766"/>
                <a:gd name="connsiteX107" fmla="*/ 1859014 w 2526624"/>
                <a:gd name="connsiteY107" fmla="*/ 471437 h 2526766"/>
                <a:gd name="connsiteX108" fmla="*/ 1908800 w 2526624"/>
                <a:gd name="connsiteY108" fmla="*/ 264417 h 2526766"/>
                <a:gd name="connsiteX109" fmla="*/ 1966047 w 2526624"/>
                <a:gd name="connsiteY109" fmla="*/ 320252 h 2526766"/>
                <a:gd name="connsiteX110" fmla="*/ 1910212 w 2526624"/>
                <a:gd name="connsiteY110" fmla="*/ 377498 h 2526766"/>
                <a:gd name="connsiteX111" fmla="*/ 1852965 w 2526624"/>
                <a:gd name="connsiteY111" fmla="*/ 321667 h 2526766"/>
                <a:gd name="connsiteX112" fmla="*/ 1908796 w 2526624"/>
                <a:gd name="connsiteY112" fmla="*/ 264417 h 2526766"/>
                <a:gd name="connsiteX113" fmla="*/ 1908800 w 2526624"/>
                <a:gd name="connsiteY113" fmla="*/ 264417 h 2526766"/>
                <a:gd name="connsiteX114" fmla="*/ 2122934 w 2526624"/>
                <a:gd name="connsiteY114" fmla="*/ 1562299 h 2526766"/>
                <a:gd name="connsiteX115" fmla="*/ 1974431 w 2526624"/>
                <a:gd name="connsiteY115" fmla="*/ 1670659 h 2526766"/>
                <a:gd name="connsiteX116" fmla="*/ 1753966 w 2526624"/>
                <a:gd name="connsiteY116" fmla="*/ 1670659 h 2526766"/>
                <a:gd name="connsiteX117" fmla="*/ 1616673 w 2526624"/>
                <a:gd name="connsiteY117" fmla="*/ 1807951 h 2526766"/>
                <a:gd name="connsiteX118" fmla="*/ 1616690 w 2526624"/>
                <a:gd name="connsiteY118" fmla="*/ 2216788 h 2526766"/>
                <a:gd name="connsiteX119" fmla="*/ 1516102 w 2526624"/>
                <a:gd name="connsiteY119" fmla="*/ 2417972 h 2526766"/>
                <a:gd name="connsiteX120" fmla="*/ 1717286 w 2526624"/>
                <a:gd name="connsiteY120" fmla="*/ 2518560 h 2526766"/>
                <a:gd name="connsiteX121" fmla="*/ 1817874 w 2526624"/>
                <a:gd name="connsiteY121" fmla="*/ 2317376 h 2526766"/>
                <a:gd name="connsiteX122" fmla="*/ 1717674 w 2526624"/>
                <a:gd name="connsiteY122" fmla="*/ 2216918 h 2526766"/>
                <a:gd name="connsiteX123" fmla="*/ 1717657 w 2526624"/>
                <a:gd name="connsiteY123" fmla="*/ 1849770 h 2526766"/>
                <a:gd name="connsiteX124" fmla="*/ 1795785 w 2526624"/>
                <a:gd name="connsiteY124" fmla="*/ 1771643 h 2526766"/>
                <a:gd name="connsiteX125" fmla="*/ 1974311 w 2526624"/>
                <a:gd name="connsiteY125" fmla="*/ 1771643 h 2526766"/>
                <a:gd name="connsiteX126" fmla="*/ 2175428 w 2526624"/>
                <a:gd name="connsiteY126" fmla="*/ 1871766 h 2526766"/>
                <a:gd name="connsiteX127" fmla="*/ 2275550 w 2526624"/>
                <a:gd name="connsiteY127" fmla="*/ 1670649 h 2526766"/>
                <a:gd name="connsiteX128" fmla="*/ 2122934 w 2526624"/>
                <a:gd name="connsiteY128" fmla="*/ 1562299 h 2526766"/>
                <a:gd name="connsiteX129" fmla="*/ 1667880 w 2526624"/>
                <a:gd name="connsiteY129" fmla="*/ 2423938 h 2526766"/>
                <a:gd name="connsiteX130" fmla="*/ 1610626 w 2526624"/>
                <a:gd name="connsiteY130" fmla="*/ 2368110 h 2526766"/>
                <a:gd name="connsiteX131" fmla="*/ 1666453 w 2526624"/>
                <a:gd name="connsiteY131" fmla="*/ 2310857 h 2526766"/>
                <a:gd name="connsiteX132" fmla="*/ 1723707 w 2526624"/>
                <a:gd name="connsiteY132" fmla="*/ 2366684 h 2526766"/>
                <a:gd name="connsiteX133" fmla="*/ 1723707 w 2526624"/>
                <a:gd name="connsiteY133" fmla="*/ 2366688 h 2526766"/>
                <a:gd name="connsiteX134" fmla="*/ 1667879 w 2526624"/>
                <a:gd name="connsiteY134" fmla="*/ 2423938 h 2526766"/>
                <a:gd name="connsiteX135" fmla="*/ 2125636 w 2526624"/>
                <a:gd name="connsiteY135" fmla="*/ 1777696 h 2526766"/>
                <a:gd name="connsiteX136" fmla="*/ 2068378 w 2526624"/>
                <a:gd name="connsiteY136" fmla="*/ 1721868 h 2526766"/>
                <a:gd name="connsiteX137" fmla="*/ 2124206 w 2526624"/>
                <a:gd name="connsiteY137" fmla="*/ 1664610 h 2526766"/>
                <a:gd name="connsiteX138" fmla="*/ 2181464 w 2526624"/>
                <a:gd name="connsiteY138" fmla="*/ 1720438 h 2526766"/>
                <a:gd name="connsiteX139" fmla="*/ 2181464 w 2526624"/>
                <a:gd name="connsiteY139" fmla="*/ 1720446 h 2526766"/>
                <a:gd name="connsiteX140" fmla="*/ 2125636 w 2526624"/>
                <a:gd name="connsiteY140" fmla="*/ 1777696 h 2526766"/>
                <a:gd name="connsiteX141" fmla="*/ 2216772 w 2526624"/>
                <a:gd name="connsiteY141" fmla="*/ 943637 h 2526766"/>
                <a:gd name="connsiteX142" fmla="*/ 2087044 w 2526624"/>
                <a:gd name="connsiteY142" fmla="*/ 943637 h 2526766"/>
                <a:gd name="connsiteX143" fmla="*/ 1885850 w 2526624"/>
                <a:gd name="connsiteY143" fmla="*/ 843087 h 2526766"/>
                <a:gd name="connsiteX144" fmla="*/ 1785300 w 2526624"/>
                <a:gd name="connsiteY144" fmla="*/ 1044281 h 2526766"/>
                <a:gd name="connsiteX145" fmla="*/ 1986494 w 2526624"/>
                <a:gd name="connsiteY145" fmla="*/ 1144831 h 2526766"/>
                <a:gd name="connsiteX146" fmla="*/ 2086931 w 2526624"/>
                <a:gd name="connsiteY146" fmla="*/ 1044621 h 2526766"/>
                <a:gd name="connsiteX147" fmla="*/ 2216654 w 2526624"/>
                <a:gd name="connsiteY147" fmla="*/ 1044621 h 2526766"/>
                <a:gd name="connsiteX148" fmla="*/ 2417850 w 2526624"/>
                <a:gd name="connsiteY148" fmla="*/ 1145184 h 2526766"/>
                <a:gd name="connsiteX149" fmla="*/ 2518412 w 2526624"/>
                <a:gd name="connsiteY149" fmla="*/ 943988 h 2526766"/>
                <a:gd name="connsiteX150" fmla="*/ 2317217 w 2526624"/>
                <a:gd name="connsiteY150" fmla="*/ 843426 h 2526766"/>
                <a:gd name="connsiteX151" fmla="*/ 2216772 w 2526624"/>
                <a:gd name="connsiteY151" fmla="*/ 943637 h 2526766"/>
                <a:gd name="connsiteX152" fmla="*/ 1937148 w 2526624"/>
                <a:gd name="connsiteY152" fmla="*/ 1051347 h 2526766"/>
                <a:gd name="connsiteX153" fmla="*/ 1879890 w 2526624"/>
                <a:gd name="connsiteY153" fmla="*/ 995519 h 2526766"/>
                <a:gd name="connsiteX154" fmla="*/ 1935718 w 2526624"/>
                <a:gd name="connsiteY154" fmla="*/ 938261 h 2526766"/>
                <a:gd name="connsiteX155" fmla="*/ 1992976 w 2526624"/>
                <a:gd name="connsiteY155" fmla="*/ 994089 h 2526766"/>
                <a:gd name="connsiteX156" fmla="*/ 1992976 w 2526624"/>
                <a:gd name="connsiteY156" fmla="*/ 994097 h 2526766"/>
                <a:gd name="connsiteX157" fmla="*/ 1937148 w 2526624"/>
                <a:gd name="connsiteY157" fmla="*/ 1051347 h 2526766"/>
                <a:gd name="connsiteX158" fmla="*/ 2366556 w 2526624"/>
                <a:gd name="connsiteY158" fmla="*/ 937589 h 2526766"/>
                <a:gd name="connsiteX159" fmla="*/ 2423803 w 2526624"/>
                <a:gd name="connsiteY159" fmla="*/ 993423 h 2526766"/>
                <a:gd name="connsiteX160" fmla="*/ 2367969 w 2526624"/>
                <a:gd name="connsiteY160" fmla="*/ 1050670 h 2526766"/>
                <a:gd name="connsiteX161" fmla="*/ 2310722 w 2526624"/>
                <a:gd name="connsiteY161" fmla="*/ 994839 h 2526766"/>
                <a:gd name="connsiteX162" fmla="*/ 2366551 w 2526624"/>
                <a:gd name="connsiteY162" fmla="*/ 937589 h 2526766"/>
                <a:gd name="connsiteX163" fmla="*/ 2366557 w 2526624"/>
                <a:gd name="connsiteY163" fmla="*/ 937589 h 2526766"/>
                <a:gd name="connsiteX164" fmla="*/ 318119 w 2526624"/>
                <a:gd name="connsiteY164" fmla="*/ 803649 h 2526766"/>
                <a:gd name="connsiteX165" fmla="*/ 157418 w 2526624"/>
                <a:gd name="connsiteY165" fmla="*/ 646635 h 2526766"/>
                <a:gd name="connsiteX166" fmla="*/ 404 w 2526624"/>
                <a:gd name="connsiteY166" fmla="*/ 807336 h 2526766"/>
                <a:gd name="connsiteX167" fmla="*/ 108770 w 2526624"/>
                <a:gd name="connsiteY167" fmla="*/ 956123 h 2526766"/>
                <a:gd name="connsiteX168" fmla="*/ 108770 w 2526624"/>
                <a:gd name="connsiteY168" fmla="*/ 1058940 h 2526766"/>
                <a:gd name="connsiteX169" fmla="*/ 8213 w 2526624"/>
                <a:gd name="connsiteY169" fmla="*/ 1260135 h 2526766"/>
                <a:gd name="connsiteX170" fmla="*/ 209408 w 2526624"/>
                <a:gd name="connsiteY170" fmla="*/ 1360692 h 2526766"/>
                <a:gd name="connsiteX171" fmla="*/ 309966 w 2526624"/>
                <a:gd name="connsiteY171" fmla="*/ 1159497 h 2526766"/>
                <a:gd name="connsiteX172" fmla="*/ 209755 w 2526624"/>
                <a:gd name="connsiteY172" fmla="*/ 1059056 h 2526766"/>
                <a:gd name="connsiteX173" fmla="*/ 209755 w 2526624"/>
                <a:gd name="connsiteY173" fmla="*/ 956253 h 2526766"/>
                <a:gd name="connsiteX174" fmla="*/ 318119 w 2526624"/>
                <a:gd name="connsiteY174" fmla="*/ 803649 h 2526766"/>
                <a:gd name="connsiteX175" fmla="*/ 158555 w 2526624"/>
                <a:gd name="connsiteY175" fmla="*/ 749098 h 2526766"/>
                <a:gd name="connsiteX176" fmla="*/ 215807 w 2526624"/>
                <a:gd name="connsiteY176" fmla="*/ 804933 h 2526766"/>
                <a:gd name="connsiteX177" fmla="*/ 159973 w 2526624"/>
                <a:gd name="connsiteY177" fmla="*/ 862184 h 2526766"/>
                <a:gd name="connsiteX178" fmla="*/ 102721 w 2526624"/>
                <a:gd name="connsiteY178" fmla="*/ 806350 h 2526766"/>
                <a:gd name="connsiteX179" fmla="*/ 102721 w 2526624"/>
                <a:gd name="connsiteY179" fmla="*/ 806349 h 2526766"/>
                <a:gd name="connsiteX180" fmla="*/ 158556 w 2526624"/>
                <a:gd name="connsiteY180" fmla="*/ 749098 h 2526766"/>
                <a:gd name="connsiteX181" fmla="*/ 159976 w 2526624"/>
                <a:gd name="connsiteY181" fmla="*/ 1266085 h 2526766"/>
                <a:gd name="connsiteX182" fmla="*/ 102719 w 2526624"/>
                <a:gd name="connsiteY182" fmla="*/ 1210257 h 2526766"/>
                <a:gd name="connsiteX183" fmla="*/ 158547 w 2526624"/>
                <a:gd name="connsiteY183" fmla="*/ 1153000 h 2526766"/>
                <a:gd name="connsiteX184" fmla="*/ 215804 w 2526624"/>
                <a:gd name="connsiteY184" fmla="*/ 1208828 h 2526766"/>
                <a:gd name="connsiteX185" fmla="*/ 215805 w 2526624"/>
                <a:gd name="connsiteY185" fmla="*/ 1208835 h 2526766"/>
                <a:gd name="connsiteX186" fmla="*/ 159977 w 2526624"/>
                <a:gd name="connsiteY186" fmla="*/ 1266085 h 2526766"/>
                <a:gd name="connsiteX187" fmla="*/ 2365276 w 2526624"/>
                <a:gd name="connsiteY187" fmla="*/ 1239174 h 2526766"/>
                <a:gd name="connsiteX188" fmla="*/ 2216773 w 2526624"/>
                <a:gd name="connsiteY188" fmla="*/ 1347538 h 2526766"/>
                <a:gd name="connsiteX189" fmla="*/ 1849635 w 2526624"/>
                <a:gd name="connsiteY189" fmla="*/ 1347538 h 2526766"/>
                <a:gd name="connsiteX190" fmla="*/ 1690728 w 2526624"/>
                <a:gd name="connsiteY190" fmla="*/ 1188631 h 2526766"/>
                <a:gd name="connsiteX191" fmla="*/ 1690728 w 2526624"/>
                <a:gd name="connsiteY191" fmla="*/ 461609 h 2526766"/>
                <a:gd name="connsiteX192" fmla="*/ 1583027 w 2526624"/>
                <a:gd name="connsiteY192" fmla="*/ 353899 h 2526766"/>
                <a:gd name="connsiteX193" fmla="*/ 1583027 w 2526624"/>
                <a:gd name="connsiteY193" fmla="*/ 310007 h 2526766"/>
                <a:gd name="connsiteX194" fmla="*/ 1683619 w 2526624"/>
                <a:gd name="connsiteY194" fmla="*/ 108804 h 2526766"/>
                <a:gd name="connsiteX195" fmla="*/ 1482416 w 2526624"/>
                <a:gd name="connsiteY195" fmla="*/ 8211 h 2526766"/>
                <a:gd name="connsiteX196" fmla="*/ 1381824 w 2526624"/>
                <a:gd name="connsiteY196" fmla="*/ 209414 h 2526766"/>
                <a:gd name="connsiteX197" fmla="*/ 1482042 w 2526624"/>
                <a:gd name="connsiteY197" fmla="*/ 309882 h 2526766"/>
                <a:gd name="connsiteX198" fmla="*/ 1482042 w 2526624"/>
                <a:gd name="connsiteY198" fmla="*/ 395717 h 2526766"/>
                <a:gd name="connsiteX199" fmla="*/ 1589743 w 2526624"/>
                <a:gd name="connsiteY199" fmla="*/ 503427 h 2526766"/>
                <a:gd name="connsiteX200" fmla="*/ 1589743 w 2526624"/>
                <a:gd name="connsiteY200" fmla="*/ 1230449 h 2526766"/>
                <a:gd name="connsiteX201" fmla="*/ 1807816 w 2526624"/>
                <a:gd name="connsiteY201" fmla="*/ 1448522 h 2526766"/>
                <a:gd name="connsiteX202" fmla="*/ 2216653 w 2526624"/>
                <a:gd name="connsiteY202" fmla="*/ 1448522 h 2526766"/>
                <a:gd name="connsiteX203" fmla="*/ 2417773 w 2526624"/>
                <a:gd name="connsiteY203" fmla="*/ 1548639 h 2526766"/>
                <a:gd name="connsiteX204" fmla="*/ 2517890 w 2526624"/>
                <a:gd name="connsiteY204" fmla="*/ 1347519 h 2526766"/>
                <a:gd name="connsiteX205" fmla="*/ 2365276 w 2526624"/>
                <a:gd name="connsiteY205" fmla="*/ 1239173 h 2526766"/>
                <a:gd name="connsiteX206" fmla="*/ 1533245 w 2526624"/>
                <a:gd name="connsiteY206" fmla="*/ 215938 h 2526766"/>
                <a:gd name="connsiteX207" fmla="*/ 1475992 w 2526624"/>
                <a:gd name="connsiteY207" fmla="*/ 160110 h 2526766"/>
                <a:gd name="connsiteX208" fmla="*/ 1531820 w 2526624"/>
                <a:gd name="connsiteY208" fmla="*/ 102857 h 2526766"/>
                <a:gd name="connsiteX209" fmla="*/ 1589073 w 2526624"/>
                <a:gd name="connsiteY209" fmla="*/ 158685 h 2526766"/>
                <a:gd name="connsiteX210" fmla="*/ 1589073 w 2526624"/>
                <a:gd name="connsiteY210" fmla="*/ 158688 h 2526766"/>
                <a:gd name="connsiteX211" fmla="*/ 1533245 w 2526624"/>
                <a:gd name="connsiteY211" fmla="*/ 215938 h 2526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2526624" h="2526766">
                  <a:moveTo>
                    <a:pt x="1421467" y="1947643"/>
                  </a:moveTo>
                  <a:lnTo>
                    <a:pt x="1421467" y="1616808"/>
                  </a:lnTo>
                  <a:lnTo>
                    <a:pt x="1117680" y="1616808"/>
                  </a:lnTo>
                  <a:cubicBezTo>
                    <a:pt x="1089889" y="1533482"/>
                    <a:pt x="999811" y="1488462"/>
                    <a:pt x="916485" y="1516253"/>
                  </a:cubicBezTo>
                  <a:cubicBezTo>
                    <a:pt x="833159" y="1544044"/>
                    <a:pt x="788139" y="1634122"/>
                    <a:pt x="815930" y="1717448"/>
                  </a:cubicBezTo>
                  <a:cubicBezTo>
                    <a:pt x="843721" y="1800774"/>
                    <a:pt x="933799" y="1845794"/>
                    <a:pt x="1017125" y="1818003"/>
                  </a:cubicBezTo>
                  <a:cubicBezTo>
                    <a:pt x="1064475" y="1802211"/>
                    <a:pt x="1101664" y="1765106"/>
                    <a:pt x="1117564" y="1717793"/>
                  </a:cubicBezTo>
                  <a:lnTo>
                    <a:pt x="1320482" y="1717793"/>
                  </a:lnTo>
                  <a:lnTo>
                    <a:pt x="1320482" y="1947522"/>
                  </a:lnTo>
                  <a:cubicBezTo>
                    <a:pt x="1237153" y="1975309"/>
                    <a:pt x="1192127" y="2065385"/>
                    <a:pt x="1219914" y="2148714"/>
                  </a:cubicBezTo>
                  <a:cubicBezTo>
                    <a:pt x="1247701" y="2232043"/>
                    <a:pt x="1337778" y="2277069"/>
                    <a:pt x="1421106" y="2249282"/>
                  </a:cubicBezTo>
                  <a:cubicBezTo>
                    <a:pt x="1504435" y="2221496"/>
                    <a:pt x="1549461" y="2131419"/>
                    <a:pt x="1521675" y="2048090"/>
                  </a:cubicBezTo>
                  <a:cubicBezTo>
                    <a:pt x="1505885" y="2000738"/>
                    <a:pt x="1468781" y="1963545"/>
                    <a:pt x="1421466" y="1947642"/>
                  </a:cubicBezTo>
                  <a:close/>
                  <a:moveTo>
                    <a:pt x="967782" y="1723841"/>
                  </a:moveTo>
                  <a:cubicBezTo>
                    <a:pt x="936556" y="1724235"/>
                    <a:pt x="910922" y="1699240"/>
                    <a:pt x="910529" y="1668014"/>
                  </a:cubicBezTo>
                  <a:cubicBezTo>
                    <a:pt x="910135" y="1636787"/>
                    <a:pt x="935130" y="1611154"/>
                    <a:pt x="966356" y="1610760"/>
                  </a:cubicBezTo>
                  <a:cubicBezTo>
                    <a:pt x="997582" y="1610366"/>
                    <a:pt x="1023216" y="1635361"/>
                    <a:pt x="1023610" y="1666587"/>
                  </a:cubicBezTo>
                  <a:cubicBezTo>
                    <a:pt x="1023610" y="1666589"/>
                    <a:pt x="1023610" y="1666590"/>
                    <a:pt x="1023610" y="1666591"/>
                  </a:cubicBezTo>
                  <a:cubicBezTo>
                    <a:pt x="1024000" y="1697815"/>
                    <a:pt x="999007" y="1723445"/>
                    <a:pt x="967782" y="1723841"/>
                  </a:cubicBezTo>
                  <a:close/>
                  <a:moveTo>
                    <a:pt x="1078141" y="309882"/>
                  </a:moveTo>
                  <a:lnTo>
                    <a:pt x="1078141" y="449577"/>
                  </a:lnTo>
                  <a:lnTo>
                    <a:pt x="1293552" y="664988"/>
                  </a:lnTo>
                  <a:lnTo>
                    <a:pt x="1293552" y="735819"/>
                  </a:lnTo>
                  <a:cubicBezTo>
                    <a:pt x="1210221" y="763606"/>
                    <a:pt x="1165193" y="853684"/>
                    <a:pt x="1192980" y="937015"/>
                  </a:cubicBezTo>
                  <a:cubicBezTo>
                    <a:pt x="1220767" y="1020347"/>
                    <a:pt x="1310845" y="1065374"/>
                    <a:pt x="1394176" y="1037588"/>
                  </a:cubicBezTo>
                  <a:cubicBezTo>
                    <a:pt x="1477508" y="1009801"/>
                    <a:pt x="1522535" y="919722"/>
                    <a:pt x="1494749" y="836391"/>
                  </a:cubicBezTo>
                  <a:cubicBezTo>
                    <a:pt x="1478959" y="789037"/>
                    <a:pt x="1441853" y="751843"/>
                    <a:pt x="1394537" y="735940"/>
                  </a:cubicBezTo>
                  <a:lnTo>
                    <a:pt x="1394537" y="623169"/>
                  </a:lnTo>
                  <a:lnTo>
                    <a:pt x="1179126" y="407758"/>
                  </a:lnTo>
                  <a:lnTo>
                    <a:pt x="1179126" y="310007"/>
                  </a:lnTo>
                  <a:cubicBezTo>
                    <a:pt x="1262465" y="282224"/>
                    <a:pt x="1307503" y="192141"/>
                    <a:pt x="1279720" y="108802"/>
                  </a:cubicBezTo>
                  <a:cubicBezTo>
                    <a:pt x="1251937" y="25462"/>
                    <a:pt x="1161855" y="-19575"/>
                    <a:pt x="1078515" y="8207"/>
                  </a:cubicBezTo>
                  <a:cubicBezTo>
                    <a:pt x="995176" y="35990"/>
                    <a:pt x="950138" y="126073"/>
                    <a:pt x="977921" y="209412"/>
                  </a:cubicBezTo>
                  <a:cubicBezTo>
                    <a:pt x="993710" y="256774"/>
                    <a:pt x="1030819" y="293975"/>
                    <a:pt x="1078141" y="309881"/>
                  </a:cubicBezTo>
                  <a:close/>
                  <a:moveTo>
                    <a:pt x="1344758" y="942964"/>
                  </a:moveTo>
                  <a:cubicBezTo>
                    <a:pt x="1313530" y="943359"/>
                    <a:pt x="1287895" y="918364"/>
                    <a:pt x="1287500" y="887136"/>
                  </a:cubicBezTo>
                  <a:cubicBezTo>
                    <a:pt x="1287105" y="855909"/>
                    <a:pt x="1312100" y="830273"/>
                    <a:pt x="1343328" y="829879"/>
                  </a:cubicBezTo>
                  <a:cubicBezTo>
                    <a:pt x="1374556" y="829484"/>
                    <a:pt x="1400191" y="854479"/>
                    <a:pt x="1400586" y="885707"/>
                  </a:cubicBezTo>
                  <a:cubicBezTo>
                    <a:pt x="1400586" y="885709"/>
                    <a:pt x="1400586" y="885712"/>
                    <a:pt x="1400586" y="885714"/>
                  </a:cubicBezTo>
                  <a:cubicBezTo>
                    <a:pt x="1400976" y="916939"/>
                    <a:pt x="1375982" y="942569"/>
                    <a:pt x="1344758" y="942964"/>
                  </a:cubicBezTo>
                  <a:close/>
                  <a:moveTo>
                    <a:pt x="376683" y="614449"/>
                  </a:moveTo>
                  <a:cubicBezTo>
                    <a:pt x="400554" y="614124"/>
                    <a:pt x="424041" y="608397"/>
                    <a:pt x="445381" y="597696"/>
                  </a:cubicBezTo>
                  <a:lnTo>
                    <a:pt x="512671" y="664988"/>
                  </a:lnTo>
                  <a:lnTo>
                    <a:pt x="512671" y="924305"/>
                  </a:lnTo>
                  <a:cubicBezTo>
                    <a:pt x="429343" y="952095"/>
                    <a:pt x="384322" y="1042174"/>
                    <a:pt x="412112" y="1125501"/>
                  </a:cubicBezTo>
                  <a:cubicBezTo>
                    <a:pt x="439903" y="1208829"/>
                    <a:pt x="529981" y="1253850"/>
                    <a:pt x="613309" y="1226060"/>
                  </a:cubicBezTo>
                  <a:cubicBezTo>
                    <a:pt x="696636" y="1198270"/>
                    <a:pt x="741658" y="1108191"/>
                    <a:pt x="713867" y="1024863"/>
                  </a:cubicBezTo>
                  <a:cubicBezTo>
                    <a:pt x="698075" y="977512"/>
                    <a:pt x="660970" y="940321"/>
                    <a:pt x="613655" y="924421"/>
                  </a:cubicBezTo>
                  <a:lnTo>
                    <a:pt x="613655" y="623169"/>
                  </a:lnTo>
                  <a:lnTo>
                    <a:pt x="516823" y="526331"/>
                  </a:lnTo>
                  <a:cubicBezTo>
                    <a:pt x="555853" y="447791"/>
                    <a:pt x="523823" y="352481"/>
                    <a:pt x="445283" y="313451"/>
                  </a:cubicBezTo>
                  <a:cubicBezTo>
                    <a:pt x="366742" y="274421"/>
                    <a:pt x="271432" y="306450"/>
                    <a:pt x="232402" y="384991"/>
                  </a:cubicBezTo>
                  <a:cubicBezTo>
                    <a:pt x="193372" y="463531"/>
                    <a:pt x="225402" y="558841"/>
                    <a:pt x="303942" y="597871"/>
                  </a:cubicBezTo>
                  <a:cubicBezTo>
                    <a:pt x="326529" y="609095"/>
                    <a:pt x="351464" y="614778"/>
                    <a:pt x="376683" y="614449"/>
                  </a:cubicBezTo>
                  <a:close/>
                  <a:moveTo>
                    <a:pt x="563880" y="1131450"/>
                  </a:moveTo>
                  <a:cubicBezTo>
                    <a:pt x="532653" y="1131843"/>
                    <a:pt x="507020" y="1106849"/>
                    <a:pt x="506626" y="1075622"/>
                  </a:cubicBezTo>
                  <a:cubicBezTo>
                    <a:pt x="506233" y="1044396"/>
                    <a:pt x="531228" y="1018762"/>
                    <a:pt x="562454" y="1018369"/>
                  </a:cubicBezTo>
                  <a:cubicBezTo>
                    <a:pt x="593681" y="1017975"/>
                    <a:pt x="619314" y="1042970"/>
                    <a:pt x="619708" y="1074197"/>
                  </a:cubicBezTo>
                  <a:cubicBezTo>
                    <a:pt x="619708" y="1074198"/>
                    <a:pt x="619708" y="1074199"/>
                    <a:pt x="619708" y="1074200"/>
                  </a:cubicBezTo>
                  <a:cubicBezTo>
                    <a:pt x="620098" y="1105424"/>
                    <a:pt x="595104" y="1131055"/>
                    <a:pt x="563880" y="1131450"/>
                  </a:cubicBezTo>
                  <a:close/>
                  <a:moveTo>
                    <a:pt x="853343" y="1421602"/>
                  </a:moveTo>
                  <a:lnTo>
                    <a:pt x="745633" y="1529303"/>
                  </a:lnTo>
                  <a:lnTo>
                    <a:pt x="632882" y="1529303"/>
                  </a:lnTo>
                  <a:cubicBezTo>
                    <a:pt x="604902" y="1612365"/>
                    <a:pt x="514885" y="1657017"/>
                    <a:pt x="431823" y="1629038"/>
                  </a:cubicBezTo>
                  <a:cubicBezTo>
                    <a:pt x="348761" y="1601058"/>
                    <a:pt x="304108" y="1511040"/>
                    <a:pt x="332088" y="1427978"/>
                  </a:cubicBezTo>
                  <a:cubicBezTo>
                    <a:pt x="360068" y="1344916"/>
                    <a:pt x="450085" y="1300263"/>
                    <a:pt x="533147" y="1328243"/>
                  </a:cubicBezTo>
                  <a:cubicBezTo>
                    <a:pt x="580270" y="1344117"/>
                    <a:pt x="617229" y="1381159"/>
                    <a:pt x="632996" y="1428318"/>
                  </a:cubicBezTo>
                  <a:lnTo>
                    <a:pt x="703814" y="1428318"/>
                  </a:lnTo>
                  <a:lnTo>
                    <a:pt x="811524" y="1320617"/>
                  </a:lnTo>
                  <a:lnTo>
                    <a:pt x="1193550" y="1320617"/>
                  </a:lnTo>
                  <a:cubicBezTo>
                    <a:pt x="1221531" y="1237559"/>
                    <a:pt x="1311545" y="1192910"/>
                    <a:pt x="1394604" y="1220890"/>
                  </a:cubicBezTo>
                  <a:cubicBezTo>
                    <a:pt x="1477662" y="1248871"/>
                    <a:pt x="1522311" y="1338885"/>
                    <a:pt x="1494331" y="1421944"/>
                  </a:cubicBezTo>
                  <a:cubicBezTo>
                    <a:pt x="1466350" y="1505002"/>
                    <a:pt x="1376336" y="1549651"/>
                    <a:pt x="1293277" y="1521671"/>
                  </a:cubicBezTo>
                  <a:cubicBezTo>
                    <a:pt x="1246158" y="1505797"/>
                    <a:pt x="1209202" y="1468757"/>
                    <a:pt x="1193435" y="1421602"/>
                  </a:cubicBezTo>
                  <a:close/>
                  <a:moveTo>
                    <a:pt x="674231" y="390657"/>
                  </a:moveTo>
                  <a:lnTo>
                    <a:pt x="674231" y="503427"/>
                  </a:lnTo>
                  <a:lnTo>
                    <a:pt x="916572" y="745768"/>
                  </a:lnTo>
                  <a:lnTo>
                    <a:pt x="916572" y="924309"/>
                  </a:lnTo>
                  <a:cubicBezTo>
                    <a:pt x="833249" y="952103"/>
                    <a:pt x="788234" y="1042182"/>
                    <a:pt x="816028" y="1125505"/>
                  </a:cubicBezTo>
                  <a:cubicBezTo>
                    <a:pt x="843822" y="1208828"/>
                    <a:pt x="933901" y="1253843"/>
                    <a:pt x="1017224" y="1226049"/>
                  </a:cubicBezTo>
                  <a:cubicBezTo>
                    <a:pt x="1100547" y="1198254"/>
                    <a:pt x="1145562" y="1108176"/>
                    <a:pt x="1117767" y="1024853"/>
                  </a:cubicBezTo>
                  <a:cubicBezTo>
                    <a:pt x="1101974" y="977505"/>
                    <a:pt x="1064869" y="940319"/>
                    <a:pt x="1017556" y="924420"/>
                  </a:cubicBezTo>
                  <a:lnTo>
                    <a:pt x="1017556" y="703949"/>
                  </a:lnTo>
                  <a:lnTo>
                    <a:pt x="775216" y="461609"/>
                  </a:lnTo>
                  <a:lnTo>
                    <a:pt x="775216" y="390787"/>
                  </a:lnTo>
                  <a:cubicBezTo>
                    <a:pt x="858556" y="363008"/>
                    <a:pt x="903597" y="272928"/>
                    <a:pt x="875818" y="189588"/>
                  </a:cubicBezTo>
                  <a:cubicBezTo>
                    <a:pt x="848039" y="106248"/>
                    <a:pt x="757959" y="61207"/>
                    <a:pt x="674619" y="88986"/>
                  </a:cubicBezTo>
                  <a:cubicBezTo>
                    <a:pt x="591279" y="116765"/>
                    <a:pt x="546238" y="206845"/>
                    <a:pt x="574017" y="290185"/>
                  </a:cubicBezTo>
                  <a:cubicBezTo>
                    <a:pt x="589803" y="337546"/>
                    <a:pt x="626910" y="374749"/>
                    <a:pt x="674231" y="390657"/>
                  </a:cubicBezTo>
                  <a:close/>
                  <a:moveTo>
                    <a:pt x="724019" y="183637"/>
                  </a:moveTo>
                  <a:cubicBezTo>
                    <a:pt x="755246" y="183247"/>
                    <a:pt x="780876" y="208245"/>
                    <a:pt x="781266" y="239471"/>
                  </a:cubicBezTo>
                  <a:cubicBezTo>
                    <a:pt x="781656" y="270698"/>
                    <a:pt x="756658" y="296328"/>
                    <a:pt x="725431" y="296718"/>
                  </a:cubicBezTo>
                  <a:cubicBezTo>
                    <a:pt x="694206" y="297108"/>
                    <a:pt x="668576" y="272112"/>
                    <a:pt x="668185" y="240887"/>
                  </a:cubicBezTo>
                  <a:cubicBezTo>
                    <a:pt x="667793" y="209661"/>
                    <a:pt x="692789" y="184029"/>
                    <a:pt x="724015" y="183637"/>
                  </a:cubicBezTo>
                  <a:cubicBezTo>
                    <a:pt x="724016" y="183637"/>
                    <a:pt x="724018" y="183637"/>
                    <a:pt x="724019" y="183637"/>
                  </a:cubicBezTo>
                  <a:close/>
                  <a:moveTo>
                    <a:pt x="1859014" y="471437"/>
                  </a:moveTo>
                  <a:lnTo>
                    <a:pt x="1859014" y="667641"/>
                  </a:lnTo>
                  <a:lnTo>
                    <a:pt x="2055091" y="667641"/>
                  </a:lnTo>
                  <a:cubicBezTo>
                    <a:pt x="2082876" y="750971"/>
                    <a:pt x="2172954" y="795999"/>
                    <a:pt x="2256284" y="768214"/>
                  </a:cubicBezTo>
                  <a:cubicBezTo>
                    <a:pt x="2339615" y="740428"/>
                    <a:pt x="2384642" y="650351"/>
                    <a:pt x="2356857" y="567020"/>
                  </a:cubicBezTo>
                  <a:cubicBezTo>
                    <a:pt x="2329071" y="483690"/>
                    <a:pt x="2238994" y="438662"/>
                    <a:pt x="2155663" y="466448"/>
                  </a:cubicBezTo>
                  <a:cubicBezTo>
                    <a:pt x="2108310" y="482237"/>
                    <a:pt x="2071116" y="519341"/>
                    <a:pt x="2055213" y="566657"/>
                  </a:cubicBezTo>
                  <a:lnTo>
                    <a:pt x="1959998" y="566656"/>
                  </a:lnTo>
                  <a:lnTo>
                    <a:pt x="1959998" y="471567"/>
                  </a:lnTo>
                  <a:cubicBezTo>
                    <a:pt x="2043339" y="443788"/>
                    <a:pt x="2088381" y="353707"/>
                    <a:pt x="2060602" y="270366"/>
                  </a:cubicBezTo>
                  <a:cubicBezTo>
                    <a:pt x="2032823" y="187025"/>
                    <a:pt x="1942743" y="141983"/>
                    <a:pt x="1859401" y="169762"/>
                  </a:cubicBezTo>
                  <a:cubicBezTo>
                    <a:pt x="1776060" y="197541"/>
                    <a:pt x="1731018" y="287622"/>
                    <a:pt x="1758797" y="370963"/>
                  </a:cubicBezTo>
                  <a:cubicBezTo>
                    <a:pt x="1774584" y="418326"/>
                    <a:pt x="1811692" y="455529"/>
                    <a:pt x="1859014" y="471437"/>
                  </a:cubicBezTo>
                  <a:close/>
                  <a:moveTo>
                    <a:pt x="1908800" y="264417"/>
                  </a:moveTo>
                  <a:cubicBezTo>
                    <a:pt x="1940026" y="264027"/>
                    <a:pt x="1965656" y="289025"/>
                    <a:pt x="1966047" y="320252"/>
                  </a:cubicBezTo>
                  <a:cubicBezTo>
                    <a:pt x="1966437" y="351478"/>
                    <a:pt x="1941439" y="377108"/>
                    <a:pt x="1910212" y="377498"/>
                  </a:cubicBezTo>
                  <a:cubicBezTo>
                    <a:pt x="1878987" y="377888"/>
                    <a:pt x="1853357" y="352893"/>
                    <a:pt x="1852965" y="321667"/>
                  </a:cubicBezTo>
                  <a:cubicBezTo>
                    <a:pt x="1852573" y="290441"/>
                    <a:pt x="1877570" y="264809"/>
                    <a:pt x="1908796" y="264417"/>
                  </a:cubicBezTo>
                  <a:cubicBezTo>
                    <a:pt x="1908797" y="264417"/>
                    <a:pt x="1908799" y="264417"/>
                    <a:pt x="1908800" y="264417"/>
                  </a:cubicBezTo>
                  <a:close/>
                  <a:moveTo>
                    <a:pt x="2122934" y="1562299"/>
                  </a:moveTo>
                  <a:cubicBezTo>
                    <a:pt x="2055433" y="1563183"/>
                    <a:pt x="1995868" y="1606646"/>
                    <a:pt x="1974431" y="1670659"/>
                  </a:cubicBezTo>
                  <a:lnTo>
                    <a:pt x="1753966" y="1670659"/>
                  </a:lnTo>
                  <a:lnTo>
                    <a:pt x="1616673" y="1807951"/>
                  </a:lnTo>
                  <a:lnTo>
                    <a:pt x="1616690" y="2216788"/>
                  </a:lnTo>
                  <a:cubicBezTo>
                    <a:pt x="1533358" y="2244567"/>
                    <a:pt x="1488323" y="2334640"/>
                    <a:pt x="1516102" y="2417972"/>
                  </a:cubicBezTo>
                  <a:cubicBezTo>
                    <a:pt x="1543881" y="2501304"/>
                    <a:pt x="1633954" y="2546339"/>
                    <a:pt x="1717286" y="2518560"/>
                  </a:cubicBezTo>
                  <a:cubicBezTo>
                    <a:pt x="1800618" y="2490781"/>
                    <a:pt x="1845653" y="2400708"/>
                    <a:pt x="1817874" y="2317376"/>
                  </a:cubicBezTo>
                  <a:cubicBezTo>
                    <a:pt x="1802089" y="2270022"/>
                    <a:pt x="1764988" y="2232825"/>
                    <a:pt x="1717674" y="2216918"/>
                  </a:cubicBezTo>
                  <a:lnTo>
                    <a:pt x="1717657" y="1849770"/>
                  </a:lnTo>
                  <a:lnTo>
                    <a:pt x="1795785" y="1771643"/>
                  </a:lnTo>
                  <a:lnTo>
                    <a:pt x="1974311" y="1771643"/>
                  </a:lnTo>
                  <a:cubicBezTo>
                    <a:pt x="2002199" y="1854828"/>
                    <a:pt x="2092242" y="1899655"/>
                    <a:pt x="2175428" y="1871766"/>
                  </a:cubicBezTo>
                  <a:cubicBezTo>
                    <a:pt x="2258613" y="1843877"/>
                    <a:pt x="2303439" y="1753834"/>
                    <a:pt x="2275550" y="1670649"/>
                  </a:cubicBezTo>
                  <a:cubicBezTo>
                    <a:pt x="2253613" y="1605217"/>
                    <a:pt x="2191941" y="1561432"/>
                    <a:pt x="2122934" y="1562299"/>
                  </a:cubicBezTo>
                  <a:close/>
                  <a:moveTo>
                    <a:pt x="1667880" y="2423938"/>
                  </a:moveTo>
                  <a:cubicBezTo>
                    <a:pt x="1636653" y="2424332"/>
                    <a:pt x="1611020" y="2399337"/>
                    <a:pt x="1610626" y="2368110"/>
                  </a:cubicBezTo>
                  <a:cubicBezTo>
                    <a:pt x="1610232" y="2336884"/>
                    <a:pt x="1635227" y="2311251"/>
                    <a:pt x="1666453" y="2310857"/>
                  </a:cubicBezTo>
                  <a:cubicBezTo>
                    <a:pt x="1697680" y="2310463"/>
                    <a:pt x="1723313" y="2335457"/>
                    <a:pt x="1723707" y="2366684"/>
                  </a:cubicBezTo>
                  <a:cubicBezTo>
                    <a:pt x="1723707" y="2366685"/>
                    <a:pt x="1723707" y="2366686"/>
                    <a:pt x="1723707" y="2366688"/>
                  </a:cubicBezTo>
                  <a:cubicBezTo>
                    <a:pt x="1724097" y="2397912"/>
                    <a:pt x="1699104" y="2423542"/>
                    <a:pt x="1667879" y="2423938"/>
                  </a:cubicBezTo>
                  <a:close/>
                  <a:moveTo>
                    <a:pt x="2125636" y="1777696"/>
                  </a:moveTo>
                  <a:cubicBezTo>
                    <a:pt x="2094408" y="1778091"/>
                    <a:pt x="2068773" y="1753096"/>
                    <a:pt x="2068378" y="1721868"/>
                  </a:cubicBezTo>
                  <a:cubicBezTo>
                    <a:pt x="2067983" y="1690640"/>
                    <a:pt x="2092978" y="1665005"/>
                    <a:pt x="2124206" y="1664610"/>
                  </a:cubicBezTo>
                  <a:cubicBezTo>
                    <a:pt x="2155434" y="1664216"/>
                    <a:pt x="2181069" y="1689211"/>
                    <a:pt x="2181464" y="1720438"/>
                  </a:cubicBezTo>
                  <a:cubicBezTo>
                    <a:pt x="2181464" y="1720441"/>
                    <a:pt x="2181464" y="1720443"/>
                    <a:pt x="2181464" y="1720446"/>
                  </a:cubicBezTo>
                  <a:cubicBezTo>
                    <a:pt x="2181853" y="1751670"/>
                    <a:pt x="2156860" y="1777301"/>
                    <a:pt x="2125636" y="1777696"/>
                  </a:cubicBezTo>
                  <a:close/>
                  <a:moveTo>
                    <a:pt x="2216772" y="943637"/>
                  </a:moveTo>
                  <a:lnTo>
                    <a:pt x="2087044" y="943637"/>
                  </a:lnTo>
                  <a:cubicBezTo>
                    <a:pt x="2059252" y="860312"/>
                    <a:pt x="1969175" y="815295"/>
                    <a:pt x="1885850" y="843087"/>
                  </a:cubicBezTo>
                  <a:cubicBezTo>
                    <a:pt x="1802526" y="870879"/>
                    <a:pt x="1757508" y="960956"/>
                    <a:pt x="1785300" y="1044281"/>
                  </a:cubicBezTo>
                  <a:cubicBezTo>
                    <a:pt x="1813093" y="1127605"/>
                    <a:pt x="1903170" y="1172623"/>
                    <a:pt x="1986494" y="1144831"/>
                  </a:cubicBezTo>
                  <a:cubicBezTo>
                    <a:pt x="2033843" y="1129038"/>
                    <a:pt x="2071031" y="1091934"/>
                    <a:pt x="2086931" y="1044621"/>
                  </a:cubicBezTo>
                  <a:lnTo>
                    <a:pt x="2216654" y="1044621"/>
                  </a:lnTo>
                  <a:cubicBezTo>
                    <a:pt x="2244443" y="1127949"/>
                    <a:pt x="2334521" y="1172973"/>
                    <a:pt x="2417850" y="1145184"/>
                  </a:cubicBezTo>
                  <a:cubicBezTo>
                    <a:pt x="2501178" y="1117395"/>
                    <a:pt x="2546202" y="1027317"/>
                    <a:pt x="2518412" y="943988"/>
                  </a:cubicBezTo>
                  <a:cubicBezTo>
                    <a:pt x="2490623" y="860660"/>
                    <a:pt x="2400545" y="815637"/>
                    <a:pt x="2317217" y="843426"/>
                  </a:cubicBezTo>
                  <a:cubicBezTo>
                    <a:pt x="2269865" y="859217"/>
                    <a:pt x="2232674" y="896322"/>
                    <a:pt x="2216772" y="943637"/>
                  </a:cubicBezTo>
                  <a:close/>
                  <a:moveTo>
                    <a:pt x="1937148" y="1051347"/>
                  </a:moveTo>
                  <a:cubicBezTo>
                    <a:pt x="1905920" y="1051742"/>
                    <a:pt x="1880285" y="1026746"/>
                    <a:pt x="1879890" y="995519"/>
                  </a:cubicBezTo>
                  <a:cubicBezTo>
                    <a:pt x="1879496" y="964291"/>
                    <a:pt x="1904491" y="938656"/>
                    <a:pt x="1935718" y="938261"/>
                  </a:cubicBezTo>
                  <a:cubicBezTo>
                    <a:pt x="1966946" y="937866"/>
                    <a:pt x="1992581" y="962861"/>
                    <a:pt x="1992976" y="994089"/>
                  </a:cubicBezTo>
                  <a:cubicBezTo>
                    <a:pt x="1992976" y="994092"/>
                    <a:pt x="1992976" y="994094"/>
                    <a:pt x="1992976" y="994097"/>
                  </a:cubicBezTo>
                  <a:cubicBezTo>
                    <a:pt x="1993364" y="1025321"/>
                    <a:pt x="1968372" y="1050950"/>
                    <a:pt x="1937148" y="1051347"/>
                  </a:cubicBezTo>
                  <a:close/>
                  <a:moveTo>
                    <a:pt x="2366556" y="937589"/>
                  </a:moveTo>
                  <a:cubicBezTo>
                    <a:pt x="2397783" y="937199"/>
                    <a:pt x="2423413" y="962196"/>
                    <a:pt x="2423803" y="993423"/>
                  </a:cubicBezTo>
                  <a:cubicBezTo>
                    <a:pt x="2424193" y="1024649"/>
                    <a:pt x="2399195" y="1050280"/>
                    <a:pt x="2367969" y="1050670"/>
                  </a:cubicBezTo>
                  <a:cubicBezTo>
                    <a:pt x="2336744" y="1051060"/>
                    <a:pt x="2311114" y="1026064"/>
                    <a:pt x="2310722" y="994839"/>
                  </a:cubicBezTo>
                  <a:cubicBezTo>
                    <a:pt x="2310330" y="963613"/>
                    <a:pt x="2335325" y="937981"/>
                    <a:pt x="2366551" y="937589"/>
                  </a:cubicBezTo>
                  <a:cubicBezTo>
                    <a:pt x="2366553" y="937589"/>
                    <a:pt x="2366555" y="937589"/>
                    <a:pt x="2366557" y="937589"/>
                  </a:cubicBezTo>
                  <a:close/>
                  <a:moveTo>
                    <a:pt x="318119" y="803649"/>
                  </a:moveTo>
                  <a:cubicBezTo>
                    <a:pt x="317101" y="715915"/>
                    <a:pt x="245153" y="645617"/>
                    <a:pt x="157418" y="646635"/>
                  </a:cubicBezTo>
                  <a:cubicBezTo>
                    <a:pt x="69684" y="647653"/>
                    <a:pt x="-614" y="719601"/>
                    <a:pt x="404" y="807336"/>
                  </a:cubicBezTo>
                  <a:cubicBezTo>
                    <a:pt x="1189" y="874937"/>
                    <a:pt x="44670" y="934637"/>
                    <a:pt x="108770" y="956123"/>
                  </a:cubicBezTo>
                  <a:lnTo>
                    <a:pt x="108770" y="1058940"/>
                  </a:lnTo>
                  <a:cubicBezTo>
                    <a:pt x="25444" y="1086730"/>
                    <a:pt x="-19577" y="1176808"/>
                    <a:pt x="8213" y="1260135"/>
                  </a:cubicBezTo>
                  <a:cubicBezTo>
                    <a:pt x="36003" y="1343462"/>
                    <a:pt x="126082" y="1388483"/>
                    <a:pt x="209408" y="1360692"/>
                  </a:cubicBezTo>
                  <a:cubicBezTo>
                    <a:pt x="292735" y="1332902"/>
                    <a:pt x="337756" y="1242824"/>
                    <a:pt x="309966" y="1159497"/>
                  </a:cubicBezTo>
                  <a:cubicBezTo>
                    <a:pt x="294174" y="1112147"/>
                    <a:pt x="257069" y="1074956"/>
                    <a:pt x="209755" y="1059056"/>
                  </a:cubicBezTo>
                  <a:lnTo>
                    <a:pt x="209755" y="956253"/>
                  </a:lnTo>
                  <a:cubicBezTo>
                    <a:pt x="275187" y="934321"/>
                    <a:pt x="318977" y="872654"/>
                    <a:pt x="318119" y="803649"/>
                  </a:cubicBezTo>
                  <a:close/>
                  <a:moveTo>
                    <a:pt x="158555" y="749098"/>
                  </a:moveTo>
                  <a:cubicBezTo>
                    <a:pt x="189783" y="748707"/>
                    <a:pt x="215416" y="773705"/>
                    <a:pt x="215807" y="804933"/>
                  </a:cubicBezTo>
                  <a:cubicBezTo>
                    <a:pt x="216198" y="836161"/>
                    <a:pt x="191201" y="861793"/>
                    <a:pt x="159973" y="862184"/>
                  </a:cubicBezTo>
                  <a:cubicBezTo>
                    <a:pt x="128745" y="862576"/>
                    <a:pt x="103112" y="837578"/>
                    <a:pt x="102721" y="806350"/>
                  </a:cubicBezTo>
                  <a:cubicBezTo>
                    <a:pt x="102721" y="806349"/>
                    <a:pt x="102721" y="806349"/>
                    <a:pt x="102721" y="806349"/>
                  </a:cubicBezTo>
                  <a:cubicBezTo>
                    <a:pt x="102331" y="775122"/>
                    <a:pt x="127329" y="749490"/>
                    <a:pt x="158556" y="749098"/>
                  </a:cubicBezTo>
                  <a:close/>
                  <a:moveTo>
                    <a:pt x="159976" y="1266085"/>
                  </a:moveTo>
                  <a:cubicBezTo>
                    <a:pt x="128749" y="1266480"/>
                    <a:pt x="103114" y="1241485"/>
                    <a:pt x="102719" y="1210257"/>
                  </a:cubicBezTo>
                  <a:cubicBezTo>
                    <a:pt x="102324" y="1179029"/>
                    <a:pt x="127319" y="1153394"/>
                    <a:pt x="158547" y="1153000"/>
                  </a:cubicBezTo>
                  <a:cubicBezTo>
                    <a:pt x="189775" y="1152605"/>
                    <a:pt x="215410" y="1177600"/>
                    <a:pt x="215804" y="1208828"/>
                  </a:cubicBezTo>
                  <a:cubicBezTo>
                    <a:pt x="215804" y="1208830"/>
                    <a:pt x="215805" y="1208832"/>
                    <a:pt x="215805" y="1208835"/>
                  </a:cubicBezTo>
                  <a:cubicBezTo>
                    <a:pt x="216195" y="1240059"/>
                    <a:pt x="191201" y="1265690"/>
                    <a:pt x="159977" y="1266085"/>
                  </a:cubicBezTo>
                  <a:close/>
                  <a:moveTo>
                    <a:pt x="2365276" y="1239174"/>
                  </a:moveTo>
                  <a:cubicBezTo>
                    <a:pt x="2297774" y="1240060"/>
                    <a:pt x="2238210" y="1283524"/>
                    <a:pt x="2216773" y="1347538"/>
                  </a:cubicBezTo>
                  <a:lnTo>
                    <a:pt x="1849635" y="1347538"/>
                  </a:lnTo>
                  <a:lnTo>
                    <a:pt x="1690728" y="1188631"/>
                  </a:lnTo>
                  <a:lnTo>
                    <a:pt x="1690728" y="461609"/>
                  </a:lnTo>
                  <a:lnTo>
                    <a:pt x="1583027" y="353899"/>
                  </a:lnTo>
                  <a:lnTo>
                    <a:pt x="1583027" y="310007"/>
                  </a:lnTo>
                  <a:cubicBezTo>
                    <a:pt x="1666365" y="282224"/>
                    <a:pt x="1711402" y="192142"/>
                    <a:pt x="1683619" y="108804"/>
                  </a:cubicBezTo>
                  <a:cubicBezTo>
                    <a:pt x="1655836" y="25465"/>
                    <a:pt x="1565755" y="-19571"/>
                    <a:pt x="1482416" y="8211"/>
                  </a:cubicBezTo>
                  <a:cubicBezTo>
                    <a:pt x="1399078" y="35994"/>
                    <a:pt x="1354041" y="126076"/>
                    <a:pt x="1381824" y="209414"/>
                  </a:cubicBezTo>
                  <a:cubicBezTo>
                    <a:pt x="1397613" y="256775"/>
                    <a:pt x="1434721" y="293975"/>
                    <a:pt x="1482042" y="309882"/>
                  </a:cubicBezTo>
                  <a:lnTo>
                    <a:pt x="1482042" y="395717"/>
                  </a:lnTo>
                  <a:lnTo>
                    <a:pt x="1589743" y="503427"/>
                  </a:lnTo>
                  <a:lnTo>
                    <a:pt x="1589743" y="1230449"/>
                  </a:lnTo>
                  <a:lnTo>
                    <a:pt x="1807816" y="1448522"/>
                  </a:lnTo>
                  <a:lnTo>
                    <a:pt x="2216653" y="1448522"/>
                  </a:lnTo>
                  <a:cubicBezTo>
                    <a:pt x="2244544" y="1531706"/>
                    <a:pt x="2334588" y="1576531"/>
                    <a:pt x="2417773" y="1548639"/>
                  </a:cubicBezTo>
                  <a:cubicBezTo>
                    <a:pt x="2500957" y="1520748"/>
                    <a:pt x="2545781" y="1430704"/>
                    <a:pt x="2517890" y="1347519"/>
                  </a:cubicBezTo>
                  <a:cubicBezTo>
                    <a:pt x="2495952" y="1282089"/>
                    <a:pt x="2434281" y="1238306"/>
                    <a:pt x="2365276" y="1239173"/>
                  </a:cubicBezTo>
                  <a:close/>
                  <a:moveTo>
                    <a:pt x="1533245" y="215938"/>
                  </a:moveTo>
                  <a:cubicBezTo>
                    <a:pt x="1502019" y="216332"/>
                    <a:pt x="1476386" y="191336"/>
                    <a:pt x="1475992" y="160110"/>
                  </a:cubicBezTo>
                  <a:cubicBezTo>
                    <a:pt x="1475599" y="128883"/>
                    <a:pt x="1500594" y="103250"/>
                    <a:pt x="1531820" y="102857"/>
                  </a:cubicBezTo>
                  <a:cubicBezTo>
                    <a:pt x="1563046" y="102463"/>
                    <a:pt x="1588680" y="127458"/>
                    <a:pt x="1589073" y="158685"/>
                  </a:cubicBezTo>
                  <a:cubicBezTo>
                    <a:pt x="1589073" y="158686"/>
                    <a:pt x="1589073" y="158687"/>
                    <a:pt x="1589073" y="158688"/>
                  </a:cubicBezTo>
                  <a:cubicBezTo>
                    <a:pt x="1589463" y="189912"/>
                    <a:pt x="1564470" y="215542"/>
                    <a:pt x="1533245" y="215938"/>
                  </a:cubicBezTo>
                  <a:close/>
                </a:path>
              </a:pathLst>
            </a:custGeom>
            <a:solidFill>
              <a:srgbClr val="FFFFFF"/>
            </a:solidFill>
            <a:ln w="9499"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84" name="Title">
            <a:extLst>
              <a:ext uri="{FF2B5EF4-FFF2-40B4-BE49-F238E27FC236}">
                <a16:creationId xmlns:a16="http://schemas.microsoft.com/office/drawing/2014/main" id="{D6B43D63-C144-425A-AF1B-21448C20F9F0}"/>
              </a:ext>
            </a:extLst>
          </p:cNvPr>
          <p:cNvSpPr>
            <a:spLocks noGrp="1"/>
          </p:cNvSpPr>
          <p:nvPr>
            <p:ph type="title"/>
          </p:nvPr>
        </p:nvSpPr>
        <p:spPr>
          <a:xfrm>
            <a:off x="410400" y="478800"/>
            <a:ext cx="9863997" cy="576000"/>
          </a:xfrm>
        </p:spPr>
        <p:txBody>
          <a:bodyPr vert="horz"/>
          <a:lstStyle/>
          <a:p>
            <a:r>
              <a:rPr lang="en-US"/>
              <a:t>AI is making its way into all industries</a:t>
            </a:r>
            <a:br>
              <a:rPr lang="en-US"/>
            </a:br>
            <a:r>
              <a:rPr lang="en-US" b="0"/>
              <a:t>With maximum benefit for the factory of tomorrow</a:t>
            </a:r>
            <a:endParaRPr lang="de-DE" b="0"/>
          </a:p>
        </p:txBody>
      </p:sp>
      <p:sp>
        <p:nvSpPr>
          <p:cNvPr id="2" name="Footer Placeholder 5">
            <a:extLst>
              <a:ext uri="{FF2B5EF4-FFF2-40B4-BE49-F238E27FC236}">
                <a16:creationId xmlns:a16="http://schemas.microsoft.com/office/drawing/2014/main" id="{D3B109A8-0304-008A-1FA1-1A503C8C5B80}"/>
              </a:ext>
            </a:extLst>
          </p:cNvPr>
          <p:cNvSpPr>
            <a:spLocks noGrp="1"/>
          </p:cNvSpPr>
          <p:nvPr>
            <p:ph type="ftr" sz="quarter" idx="10"/>
          </p:nvPr>
        </p:nvSpPr>
        <p:spPr>
          <a:xfrm>
            <a:off x="1059160" y="6310800"/>
            <a:ext cx="9216000" cy="547200"/>
          </a:xfrm>
        </p:spPr>
        <p:txBody>
          <a:bodyPr/>
          <a:lstStyle/>
          <a:p>
            <a:r>
              <a:rPr lang="en-US" dirty="0"/>
              <a:t>Unrestricted | © Siemens 2023 | Industrial AI</a:t>
            </a:r>
          </a:p>
        </p:txBody>
      </p:sp>
    </p:spTree>
    <p:extLst>
      <p:ext uri="{BB962C8B-B14F-4D97-AF65-F5344CB8AC3E}">
        <p14:creationId xmlns:p14="http://schemas.microsoft.com/office/powerpoint/2010/main" val="330765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1500"/>
                                  </p:stCondLst>
                                  <p:childTnLst>
                                    <p:set>
                                      <p:cBhvr>
                                        <p:cTn id="6" dur="1" fill="hold">
                                          <p:stCondLst>
                                            <p:cond delay="0"/>
                                          </p:stCondLst>
                                        </p:cTn>
                                        <p:tgtEl>
                                          <p:spTgt spid="85"/>
                                        </p:tgtEl>
                                        <p:attrNameLst>
                                          <p:attrName>style.visibility</p:attrName>
                                        </p:attrNameLst>
                                      </p:cBhvr>
                                      <p:to>
                                        <p:strVal val="visible"/>
                                      </p:to>
                                    </p:set>
                                    <p:animEffect transition="in" filter="circle(out)">
                                      <p:cBhvr>
                                        <p:cTn id="7" dur="2000"/>
                                        <p:tgtEl>
                                          <p:spTgt spid="85"/>
                                        </p:tgtEl>
                                      </p:cBhvr>
                                    </p:animEffect>
                                  </p:childTnLst>
                                </p:cTn>
                              </p:par>
                            </p:childTnLst>
                          </p:cTn>
                        </p:par>
                        <p:par>
                          <p:cTn id="8" fill="hold">
                            <p:stCondLst>
                              <p:cond delay="3500"/>
                            </p:stCondLst>
                            <p:childTnLst>
                              <p:par>
                                <p:cTn id="9" presetID="18" presetClass="entr" presetSubtype="9" fill="hold" grpId="0" nodeType="afterEffect">
                                  <p:stCondLst>
                                    <p:cond delay="0"/>
                                  </p:stCondLst>
                                  <p:iterate type="lt">
                                    <p:tmPct val="0"/>
                                  </p:iterate>
                                  <p:childTnLst>
                                    <p:set>
                                      <p:cBhvr>
                                        <p:cTn id="10" dur="1" fill="hold">
                                          <p:stCondLst>
                                            <p:cond delay="0"/>
                                          </p:stCondLst>
                                        </p:cTn>
                                        <p:tgtEl>
                                          <p:spTgt spid="56"/>
                                        </p:tgtEl>
                                        <p:attrNameLst>
                                          <p:attrName>style.visibility</p:attrName>
                                        </p:attrNameLst>
                                      </p:cBhvr>
                                      <p:to>
                                        <p:strVal val="visible"/>
                                      </p:to>
                                    </p:set>
                                    <p:animEffect transition="in" filter="strips(upLeft)">
                                      <p:cBhvr>
                                        <p:cTn id="11" dur="3000"/>
                                        <p:tgtEl>
                                          <p:spTgt spid="56"/>
                                        </p:tgtEl>
                                      </p:cBhvr>
                                    </p:animEffect>
                                  </p:childTnLst>
                                </p:cTn>
                              </p:par>
                            </p:childTnLst>
                          </p:cTn>
                        </p:par>
                        <p:par>
                          <p:cTn id="12" fill="hold">
                            <p:stCondLst>
                              <p:cond delay="6500"/>
                            </p:stCondLst>
                            <p:childTnLst>
                              <p:par>
                                <p:cTn id="13" presetID="9" presetClass="emph" presetSubtype="0" grpId="1" nodeType="afterEffect">
                                  <p:stCondLst>
                                    <p:cond delay="0"/>
                                  </p:stCondLst>
                                  <p:iterate type="lt">
                                    <p:tmAbs val="0"/>
                                  </p:iterate>
                                  <p:childTnLst>
                                    <p:set>
                                      <p:cBhvr>
                                        <p:cTn id="14" dur="indefinite"/>
                                        <p:tgtEl>
                                          <p:spTgt spid="56"/>
                                        </p:tgtEl>
                                        <p:attrNameLst>
                                          <p:attrName>style.opacity</p:attrName>
                                        </p:attrNameLst>
                                      </p:cBhvr>
                                      <p:to>
                                        <p:strVal val="0.25"/>
                                      </p:to>
                                    </p:set>
                                    <p:animEffect filter="image" prLst="opacity: 0.25">
                                      <p:cBhvr rctx="IE">
                                        <p:cTn id="15" dur="indefinite"/>
                                        <p:tgtEl>
                                          <p:spTgt spid="56"/>
                                        </p:tgtEl>
                                      </p:cBhvr>
                                    </p:animEffect>
                                  </p:childTnLst>
                                </p:cTn>
                              </p:par>
                            </p:childTnLst>
                          </p:cTn>
                        </p:par>
                        <p:par>
                          <p:cTn id="16" fill="hold">
                            <p:stCondLst>
                              <p:cond delay="6500"/>
                            </p:stCondLst>
                            <p:childTnLst>
                              <p:par>
                                <p:cTn id="17" presetID="22" presetClass="entr" presetSubtype="4"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wipe(down)">
                                      <p:cBhvr>
                                        <p:cTn id="19" dur="500"/>
                                        <p:tgtEl>
                                          <p:spTgt spid="20"/>
                                        </p:tgtEl>
                                      </p:cBhvr>
                                    </p:animEffect>
                                  </p:childTnLst>
                                </p:cTn>
                              </p:par>
                            </p:childTnLst>
                          </p:cTn>
                        </p:par>
                        <p:par>
                          <p:cTn id="20" fill="hold">
                            <p:stCondLst>
                              <p:cond delay="7000"/>
                            </p:stCondLst>
                            <p:childTnLst>
                              <p:par>
                                <p:cTn id="21" presetID="10" presetClass="entr" presetSubtype="0" fill="hold" grpId="0" nodeType="afterEffect">
                                  <p:stCondLst>
                                    <p:cond delay="0"/>
                                  </p:stCondLst>
                                  <p:childTnLst>
                                    <p:set>
                                      <p:cBhvr>
                                        <p:cTn id="22" dur="1" fill="hold">
                                          <p:stCondLst>
                                            <p:cond delay="0"/>
                                          </p:stCondLst>
                                        </p:cTn>
                                        <p:tgtEl>
                                          <p:spTgt spid="129"/>
                                        </p:tgtEl>
                                        <p:attrNameLst>
                                          <p:attrName>style.visibility</p:attrName>
                                        </p:attrNameLst>
                                      </p:cBhvr>
                                      <p:to>
                                        <p:strVal val="visible"/>
                                      </p:to>
                                    </p:set>
                                    <p:animEffect transition="in" filter="fade">
                                      <p:cBhvr>
                                        <p:cTn id="23" dur="500"/>
                                        <p:tgtEl>
                                          <p:spTgt spid="129"/>
                                        </p:tgtEl>
                                      </p:cBhvr>
                                    </p:animEffect>
                                  </p:childTnLst>
                                </p:cTn>
                              </p:par>
                            </p:childTnLst>
                          </p:cTn>
                        </p:par>
                        <p:par>
                          <p:cTn id="24" fill="hold">
                            <p:stCondLst>
                              <p:cond delay="7500"/>
                            </p:stCondLst>
                            <p:childTnLst>
                              <p:par>
                                <p:cTn id="25" presetID="22" presetClass="entr" presetSubtype="4" fill="hold"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wipe(down)">
                                      <p:cBhvr>
                                        <p:cTn id="27" dur="500"/>
                                        <p:tgtEl>
                                          <p:spTgt spid="22"/>
                                        </p:tgtEl>
                                      </p:cBhvr>
                                    </p:animEffect>
                                  </p:childTnLst>
                                </p:cTn>
                              </p:par>
                            </p:childTnLst>
                          </p:cTn>
                        </p:par>
                        <p:par>
                          <p:cTn id="28" fill="hold">
                            <p:stCondLst>
                              <p:cond delay="8000"/>
                            </p:stCondLst>
                            <p:childTnLst>
                              <p:par>
                                <p:cTn id="29" presetID="10" presetClass="entr" presetSubtype="0" fill="hold" grpId="0" nodeType="afterEffect">
                                  <p:stCondLst>
                                    <p:cond delay="0"/>
                                  </p:stCondLst>
                                  <p:childTnLst>
                                    <p:set>
                                      <p:cBhvr>
                                        <p:cTn id="30" dur="1" fill="hold">
                                          <p:stCondLst>
                                            <p:cond delay="0"/>
                                          </p:stCondLst>
                                        </p:cTn>
                                        <p:tgtEl>
                                          <p:spTgt spid="145"/>
                                        </p:tgtEl>
                                        <p:attrNameLst>
                                          <p:attrName>style.visibility</p:attrName>
                                        </p:attrNameLst>
                                      </p:cBhvr>
                                      <p:to>
                                        <p:strVal val="visible"/>
                                      </p:to>
                                    </p:set>
                                    <p:animEffect transition="in" filter="fade">
                                      <p:cBhvr>
                                        <p:cTn id="31" dur="500"/>
                                        <p:tgtEl>
                                          <p:spTgt spid="145"/>
                                        </p:tgtEl>
                                      </p:cBhvr>
                                    </p:animEffect>
                                  </p:childTnLst>
                                </p:cTn>
                              </p:par>
                            </p:childTnLst>
                          </p:cTn>
                        </p:par>
                        <p:par>
                          <p:cTn id="32" fill="hold">
                            <p:stCondLst>
                              <p:cond delay="8500"/>
                            </p:stCondLst>
                            <p:childTnLst>
                              <p:par>
                                <p:cTn id="33" presetID="22" presetClass="entr" presetSubtype="2" fill="hold" nodeType="after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wipe(right)">
                                      <p:cBhvr>
                                        <p:cTn id="35" dur="500"/>
                                        <p:tgtEl>
                                          <p:spTgt spid="23"/>
                                        </p:tgtEl>
                                      </p:cBhvr>
                                    </p:animEffect>
                                  </p:childTnLst>
                                </p:cTn>
                              </p:par>
                            </p:childTnLst>
                          </p:cTn>
                        </p:par>
                        <p:par>
                          <p:cTn id="36" fill="hold">
                            <p:stCondLst>
                              <p:cond delay="9000"/>
                            </p:stCondLst>
                            <p:childTnLst>
                              <p:par>
                                <p:cTn id="37" presetID="10" presetClass="entr" presetSubtype="0" fill="hold" grpId="0" nodeType="afterEffect">
                                  <p:stCondLst>
                                    <p:cond delay="0"/>
                                  </p:stCondLst>
                                  <p:childTnLst>
                                    <p:set>
                                      <p:cBhvr>
                                        <p:cTn id="38" dur="1" fill="hold">
                                          <p:stCondLst>
                                            <p:cond delay="0"/>
                                          </p:stCondLst>
                                        </p:cTn>
                                        <p:tgtEl>
                                          <p:spTgt spid="169"/>
                                        </p:tgtEl>
                                        <p:attrNameLst>
                                          <p:attrName>style.visibility</p:attrName>
                                        </p:attrNameLst>
                                      </p:cBhvr>
                                      <p:to>
                                        <p:strVal val="visible"/>
                                      </p:to>
                                    </p:set>
                                    <p:animEffect transition="in" filter="fade">
                                      <p:cBhvr>
                                        <p:cTn id="39" dur="500"/>
                                        <p:tgtEl>
                                          <p:spTgt spid="169"/>
                                        </p:tgtEl>
                                      </p:cBhvr>
                                    </p:animEffect>
                                  </p:childTnLst>
                                </p:cTn>
                              </p:par>
                            </p:childTnLst>
                          </p:cTn>
                        </p:par>
                        <p:par>
                          <p:cTn id="40" fill="hold">
                            <p:stCondLst>
                              <p:cond delay="9500"/>
                            </p:stCondLst>
                            <p:childTnLst>
                              <p:par>
                                <p:cTn id="41" presetID="22" presetClass="entr" presetSubtype="2" fill="hold" nodeType="afterEffect">
                                  <p:stCondLst>
                                    <p:cond delay="0"/>
                                  </p:stCondLst>
                                  <p:childTnLst>
                                    <p:set>
                                      <p:cBhvr>
                                        <p:cTn id="42" dur="1" fill="hold">
                                          <p:stCondLst>
                                            <p:cond delay="0"/>
                                          </p:stCondLst>
                                        </p:cTn>
                                        <p:tgtEl>
                                          <p:spTgt spid="25"/>
                                        </p:tgtEl>
                                        <p:attrNameLst>
                                          <p:attrName>style.visibility</p:attrName>
                                        </p:attrNameLst>
                                      </p:cBhvr>
                                      <p:to>
                                        <p:strVal val="visible"/>
                                      </p:to>
                                    </p:set>
                                    <p:animEffect transition="in" filter="wipe(right)">
                                      <p:cBhvr>
                                        <p:cTn id="43" dur="500"/>
                                        <p:tgtEl>
                                          <p:spTgt spid="25"/>
                                        </p:tgtEl>
                                      </p:cBhvr>
                                    </p:animEffect>
                                  </p:childTnLst>
                                </p:cTn>
                              </p:par>
                            </p:childTnLst>
                          </p:cTn>
                        </p:par>
                        <p:par>
                          <p:cTn id="44" fill="hold">
                            <p:stCondLst>
                              <p:cond delay="10000"/>
                            </p:stCondLst>
                            <p:childTnLst>
                              <p:par>
                                <p:cTn id="45" presetID="10" presetClass="entr" presetSubtype="0" fill="hold" grpId="0" nodeType="afterEffect">
                                  <p:stCondLst>
                                    <p:cond delay="0"/>
                                  </p:stCondLst>
                                  <p:childTnLst>
                                    <p:set>
                                      <p:cBhvr>
                                        <p:cTn id="46" dur="1" fill="hold">
                                          <p:stCondLst>
                                            <p:cond delay="0"/>
                                          </p:stCondLst>
                                        </p:cTn>
                                        <p:tgtEl>
                                          <p:spTgt spid="128"/>
                                        </p:tgtEl>
                                        <p:attrNameLst>
                                          <p:attrName>style.visibility</p:attrName>
                                        </p:attrNameLst>
                                      </p:cBhvr>
                                      <p:to>
                                        <p:strVal val="visible"/>
                                      </p:to>
                                    </p:set>
                                    <p:animEffect transition="in" filter="fade">
                                      <p:cBhvr>
                                        <p:cTn id="47" dur="500"/>
                                        <p:tgtEl>
                                          <p:spTgt spid="128"/>
                                        </p:tgtEl>
                                      </p:cBhvr>
                                    </p:animEffect>
                                  </p:childTnLst>
                                </p:cTn>
                              </p:par>
                            </p:childTnLst>
                          </p:cTn>
                        </p:par>
                        <p:par>
                          <p:cTn id="48" fill="hold">
                            <p:stCondLst>
                              <p:cond delay="10500"/>
                            </p:stCondLst>
                            <p:childTnLst>
                              <p:par>
                                <p:cTn id="49" presetID="22" presetClass="entr" presetSubtype="2" fill="hold" nodeType="afterEffect">
                                  <p:stCondLst>
                                    <p:cond delay="0"/>
                                  </p:stCondLst>
                                  <p:childTnLst>
                                    <p:set>
                                      <p:cBhvr>
                                        <p:cTn id="50" dur="1" fill="hold">
                                          <p:stCondLst>
                                            <p:cond delay="0"/>
                                          </p:stCondLst>
                                        </p:cTn>
                                        <p:tgtEl>
                                          <p:spTgt spid="27"/>
                                        </p:tgtEl>
                                        <p:attrNameLst>
                                          <p:attrName>style.visibility</p:attrName>
                                        </p:attrNameLst>
                                      </p:cBhvr>
                                      <p:to>
                                        <p:strVal val="visible"/>
                                      </p:to>
                                    </p:set>
                                    <p:animEffect transition="in" filter="wipe(right)">
                                      <p:cBhvr>
                                        <p:cTn id="51" dur="500"/>
                                        <p:tgtEl>
                                          <p:spTgt spid="27"/>
                                        </p:tgtEl>
                                      </p:cBhvr>
                                    </p:animEffect>
                                  </p:childTnLst>
                                </p:cTn>
                              </p:par>
                            </p:childTnLst>
                          </p:cTn>
                        </p:par>
                        <p:par>
                          <p:cTn id="52" fill="hold">
                            <p:stCondLst>
                              <p:cond delay="11000"/>
                            </p:stCondLst>
                            <p:childTnLst>
                              <p:par>
                                <p:cTn id="53" presetID="10" presetClass="entr" presetSubtype="0" fill="hold" grpId="0" nodeType="afterEffect">
                                  <p:stCondLst>
                                    <p:cond delay="0"/>
                                  </p:stCondLst>
                                  <p:childTnLst>
                                    <p:set>
                                      <p:cBhvr>
                                        <p:cTn id="54" dur="1" fill="hold">
                                          <p:stCondLst>
                                            <p:cond delay="0"/>
                                          </p:stCondLst>
                                        </p:cTn>
                                        <p:tgtEl>
                                          <p:spTgt spid="124"/>
                                        </p:tgtEl>
                                        <p:attrNameLst>
                                          <p:attrName>style.visibility</p:attrName>
                                        </p:attrNameLst>
                                      </p:cBhvr>
                                      <p:to>
                                        <p:strVal val="visible"/>
                                      </p:to>
                                    </p:set>
                                    <p:animEffect transition="in" filter="fade">
                                      <p:cBhvr>
                                        <p:cTn id="55" dur="500"/>
                                        <p:tgtEl>
                                          <p:spTgt spid="124"/>
                                        </p:tgtEl>
                                      </p:cBhvr>
                                    </p:animEffect>
                                  </p:childTnLst>
                                </p:cTn>
                              </p:par>
                            </p:childTnLst>
                          </p:cTn>
                        </p:par>
                        <p:par>
                          <p:cTn id="56" fill="hold">
                            <p:stCondLst>
                              <p:cond delay="11500"/>
                            </p:stCondLst>
                            <p:childTnLst>
                              <p:par>
                                <p:cTn id="57" presetID="22" presetClass="entr" presetSubtype="2" fill="hold" nodeType="afterEffect">
                                  <p:stCondLst>
                                    <p:cond delay="0"/>
                                  </p:stCondLst>
                                  <p:childTnLst>
                                    <p:set>
                                      <p:cBhvr>
                                        <p:cTn id="58" dur="1" fill="hold">
                                          <p:stCondLst>
                                            <p:cond delay="0"/>
                                          </p:stCondLst>
                                        </p:cTn>
                                        <p:tgtEl>
                                          <p:spTgt spid="29"/>
                                        </p:tgtEl>
                                        <p:attrNameLst>
                                          <p:attrName>style.visibility</p:attrName>
                                        </p:attrNameLst>
                                      </p:cBhvr>
                                      <p:to>
                                        <p:strVal val="visible"/>
                                      </p:to>
                                    </p:set>
                                    <p:animEffect transition="in" filter="wipe(right)">
                                      <p:cBhvr>
                                        <p:cTn id="59" dur="500"/>
                                        <p:tgtEl>
                                          <p:spTgt spid="29"/>
                                        </p:tgtEl>
                                      </p:cBhvr>
                                    </p:animEffect>
                                  </p:childTnLst>
                                </p:cTn>
                              </p:par>
                            </p:childTnLst>
                          </p:cTn>
                        </p:par>
                        <p:par>
                          <p:cTn id="60" fill="hold">
                            <p:stCondLst>
                              <p:cond delay="12000"/>
                            </p:stCondLst>
                            <p:childTnLst>
                              <p:par>
                                <p:cTn id="61" presetID="10" presetClass="entr" presetSubtype="0" fill="hold" grpId="0" nodeType="afterEffect">
                                  <p:stCondLst>
                                    <p:cond delay="0"/>
                                  </p:stCondLst>
                                  <p:childTnLst>
                                    <p:set>
                                      <p:cBhvr>
                                        <p:cTn id="62" dur="1" fill="hold">
                                          <p:stCondLst>
                                            <p:cond delay="0"/>
                                          </p:stCondLst>
                                        </p:cTn>
                                        <p:tgtEl>
                                          <p:spTgt spid="141"/>
                                        </p:tgtEl>
                                        <p:attrNameLst>
                                          <p:attrName>style.visibility</p:attrName>
                                        </p:attrNameLst>
                                      </p:cBhvr>
                                      <p:to>
                                        <p:strVal val="visible"/>
                                      </p:to>
                                    </p:set>
                                    <p:animEffect transition="in" filter="fade">
                                      <p:cBhvr>
                                        <p:cTn id="63" dur="500"/>
                                        <p:tgtEl>
                                          <p:spTgt spid="141"/>
                                        </p:tgtEl>
                                      </p:cBhvr>
                                    </p:animEffect>
                                  </p:childTnLst>
                                </p:cTn>
                              </p:par>
                            </p:childTnLst>
                          </p:cTn>
                        </p:par>
                        <p:par>
                          <p:cTn id="64" fill="hold">
                            <p:stCondLst>
                              <p:cond delay="12500"/>
                            </p:stCondLst>
                            <p:childTnLst>
                              <p:par>
                                <p:cTn id="65" presetID="22" presetClass="entr" presetSubtype="2" fill="hold" nodeType="afterEffect">
                                  <p:stCondLst>
                                    <p:cond delay="0"/>
                                  </p:stCondLst>
                                  <p:childTnLst>
                                    <p:set>
                                      <p:cBhvr>
                                        <p:cTn id="66" dur="1" fill="hold">
                                          <p:stCondLst>
                                            <p:cond delay="0"/>
                                          </p:stCondLst>
                                        </p:cTn>
                                        <p:tgtEl>
                                          <p:spTgt spid="31"/>
                                        </p:tgtEl>
                                        <p:attrNameLst>
                                          <p:attrName>style.visibility</p:attrName>
                                        </p:attrNameLst>
                                      </p:cBhvr>
                                      <p:to>
                                        <p:strVal val="visible"/>
                                      </p:to>
                                    </p:set>
                                    <p:animEffect transition="in" filter="wipe(right)">
                                      <p:cBhvr>
                                        <p:cTn id="67" dur="500"/>
                                        <p:tgtEl>
                                          <p:spTgt spid="31"/>
                                        </p:tgtEl>
                                      </p:cBhvr>
                                    </p:animEffect>
                                  </p:childTnLst>
                                </p:cTn>
                              </p:par>
                            </p:childTnLst>
                          </p:cTn>
                        </p:par>
                        <p:par>
                          <p:cTn id="68" fill="hold">
                            <p:stCondLst>
                              <p:cond delay="13000"/>
                            </p:stCondLst>
                            <p:childTnLst>
                              <p:par>
                                <p:cTn id="69" presetID="10" presetClass="entr" presetSubtype="0" fill="hold" grpId="0" nodeType="afterEffect">
                                  <p:stCondLst>
                                    <p:cond delay="0"/>
                                  </p:stCondLst>
                                  <p:childTnLst>
                                    <p:set>
                                      <p:cBhvr>
                                        <p:cTn id="70" dur="1" fill="hold">
                                          <p:stCondLst>
                                            <p:cond delay="0"/>
                                          </p:stCondLst>
                                        </p:cTn>
                                        <p:tgtEl>
                                          <p:spTgt spid="131"/>
                                        </p:tgtEl>
                                        <p:attrNameLst>
                                          <p:attrName>style.visibility</p:attrName>
                                        </p:attrNameLst>
                                      </p:cBhvr>
                                      <p:to>
                                        <p:strVal val="visible"/>
                                      </p:to>
                                    </p:set>
                                    <p:animEffect transition="in" filter="fade">
                                      <p:cBhvr>
                                        <p:cTn id="71" dur="500"/>
                                        <p:tgtEl>
                                          <p:spTgt spid="131"/>
                                        </p:tgtEl>
                                      </p:cBhvr>
                                    </p:animEffect>
                                  </p:childTnLst>
                                </p:cTn>
                              </p:par>
                            </p:childTnLst>
                          </p:cTn>
                        </p:par>
                        <p:par>
                          <p:cTn id="72" fill="hold">
                            <p:stCondLst>
                              <p:cond delay="13500"/>
                            </p:stCondLst>
                            <p:childTnLst>
                              <p:par>
                                <p:cTn id="73" presetID="22" presetClass="entr" presetSubtype="2" fill="hold" nodeType="afterEffect">
                                  <p:stCondLst>
                                    <p:cond delay="0"/>
                                  </p:stCondLst>
                                  <p:childTnLst>
                                    <p:set>
                                      <p:cBhvr>
                                        <p:cTn id="74" dur="1" fill="hold">
                                          <p:stCondLst>
                                            <p:cond delay="0"/>
                                          </p:stCondLst>
                                        </p:cTn>
                                        <p:tgtEl>
                                          <p:spTgt spid="32"/>
                                        </p:tgtEl>
                                        <p:attrNameLst>
                                          <p:attrName>style.visibility</p:attrName>
                                        </p:attrNameLst>
                                      </p:cBhvr>
                                      <p:to>
                                        <p:strVal val="visible"/>
                                      </p:to>
                                    </p:set>
                                    <p:animEffect transition="in" filter="wipe(right)">
                                      <p:cBhvr>
                                        <p:cTn id="75" dur="500"/>
                                        <p:tgtEl>
                                          <p:spTgt spid="32"/>
                                        </p:tgtEl>
                                      </p:cBhvr>
                                    </p:animEffect>
                                  </p:childTnLst>
                                </p:cTn>
                              </p:par>
                            </p:childTnLst>
                          </p:cTn>
                        </p:par>
                        <p:par>
                          <p:cTn id="76" fill="hold">
                            <p:stCondLst>
                              <p:cond delay="14000"/>
                            </p:stCondLst>
                            <p:childTnLst>
                              <p:par>
                                <p:cTn id="77" presetID="10" presetClass="entr" presetSubtype="0" fill="hold" grpId="0" nodeType="afterEffect">
                                  <p:stCondLst>
                                    <p:cond delay="0"/>
                                  </p:stCondLst>
                                  <p:childTnLst>
                                    <p:set>
                                      <p:cBhvr>
                                        <p:cTn id="78" dur="1" fill="hold">
                                          <p:stCondLst>
                                            <p:cond delay="0"/>
                                          </p:stCondLst>
                                        </p:cTn>
                                        <p:tgtEl>
                                          <p:spTgt spid="165"/>
                                        </p:tgtEl>
                                        <p:attrNameLst>
                                          <p:attrName>style.visibility</p:attrName>
                                        </p:attrNameLst>
                                      </p:cBhvr>
                                      <p:to>
                                        <p:strVal val="visible"/>
                                      </p:to>
                                    </p:set>
                                    <p:animEffect transition="in" filter="fade">
                                      <p:cBhvr>
                                        <p:cTn id="79" dur="500"/>
                                        <p:tgtEl>
                                          <p:spTgt spid="165"/>
                                        </p:tgtEl>
                                      </p:cBhvr>
                                    </p:animEffect>
                                  </p:childTnLst>
                                </p:cTn>
                              </p:par>
                            </p:childTnLst>
                          </p:cTn>
                        </p:par>
                        <p:par>
                          <p:cTn id="80" fill="hold">
                            <p:stCondLst>
                              <p:cond delay="14500"/>
                            </p:stCondLst>
                            <p:childTnLst>
                              <p:par>
                                <p:cTn id="81" presetID="18" presetClass="entr" presetSubtype="3" fill="hold" grpId="0" nodeType="afterEffect">
                                  <p:stCondLst>
                                    <p:cond delay="0"/>
                                  </p:stCondLst>
                                  <p:childTnLst>
                                    <p:set>
                                      <p:cBhvr>
                                        <p:cTn id="82" dur="1" fill="hold">
                                          <p:stCondLst>
                                            <p:cond delay="0"/>
                                          </p:stCondLst>
                                        </p:cTn>
                                        <p:tgtEl>
                                          <p:spTgt spid="107"/>
                                        </p:tgtEl>
                                        <p:attrNameLst>
                                          <p:attrName>style.visibility</p:attrName>
                                        </p:attrNameLst>
                                      </p:cBhvr>
                                      <p:to>
                                        <p:strVal val="visible"/>
                                      </p:to>
                                    </p:set>
                                    <p:animEffect transition="in" filter="strips(upRight)">
                                      <p:cBhvr>
                                        <p:cTn id="83" dur="3000"/>
                                        <p:tgtEl>
                                          <p:spTgt spid="107"/>
                                        </p:tgtEl>
                                      </p:cBhvr>
                                    </p:animEffect>
                                  </p:childTnLst>
                                </p:cTn>
                              </p:par>
                            </p:childTnLst>
                          </p:cTn>
                        </p:par>
                        <p:par>
                          <p:cTn id="84" fill="hold">
                            <p:stCondLst>
                              <p:cond delay="17500"/>
                            </p:stCondLst>
                            <p:childTnLst>
                              <p:par>
                                <p:cTn id="85" presetID="9" presetClass="emph" presetSubtype="0" grpId="1" nodeType="afterEffect">
                                  <p:stCondLst>
                                    <p:cond delay="0"/>
                                  </p:stCondLst>
                                  <p:childTnLst>
                                    <p:set>
                                      <p:cBhvr>
                                        <p:cTn id="86" dur="indefinite"/>
                                        <p:tgtEl>
                                          <p:spTgt spid="107"/>
                                        </p:tgtEl>
                                        <p:attrNameLst>
                                          <p:attrName>style.opacity</p:attrName>
                                        </p:attrNameLst>
                                      </p:cBhvr>
                                      <p:to>
                                        <p:strVal val="0.25"/>
                                      </p:to>
                                    </p:set>
                                    <p:animEffect filter="image" prLst="opacity: 0.25">
                                      <p:cBhvr rctx="IE">
                                        <p:cTn id="87" dur="indefinite"/>
                                        <p:tgtEl>
                                          <p:spTgt spid="107"/>
                                        </p:tgtEl>
                                      </p:cBhvr>
                                    </p:animEffect>
                                  </p:childTnLst>
                                </p:cTn>
                              </p:par>
                            </p:childTnLst>
                          </p:cTn>
                        </p:par>
                        <p:par>
                          <p:cTn id="88" fill="hold">
                            <p:stCondLst>
                              <p:cond delay="17500"/>
                            </p:stCondLst>
                            <p:childTnLst>
                              <p:par>
                                <p:cTn id="89" presetID="22" presetClass="entr" presetSubtype="4" fill="hold" nodeType="afterEffect">
                                  <p:stCondLst>
                                    <p:cond delay="0"/>
                                  </p:stCondLst>
                                  <p:childTnLst>
                                    <p:set>
                                      <p:cBhvr>
                                        <p:cTn id="90" dur="1" fill="hold">
                                          <p:stCondLst>
                                            <p:cond delay="0"/>
                                          </p:stCondLst>
                                        </p:cTn>
                                        <p:tgtEl>
                                          <p:spTgt spid="33"/>
                                        </p:tgtEl>
                                        <p:attrNameLst>
                                          <p:attrName>style.visibility</p:attrName>
                                        </p:attrNameLst>
                                      </p:cBhvr>
                                      <p:to>
                                        <p:strVal val="visible"/>
                                      </p:to>
                                    </p:set>
                                    <p:animEffect transition="in" filter="wipe(down)">
                                      <p:cBhvr>
                                        <p:cTn id="91" dur="500"/>
                                        <p:tgtEl>
                                          <p:spTgt spid="33"/>
                                        </p:tgtEl>
                                      </p:cBhvr>
                                    </p:animEffect>
                                  </p:childTnLst>
                                </p:cTn>
                              </p:par>
                            </p:childTnLst>
                          </p:cTn>
                        </p:par>
                        <p:par>
                          <p:cTn id="92" fill="hold">
                            <p:stCondLst>
                              <p:cond delay="18000"/>
                            </p:stCondLst>
                            <p:childTnLst>
                              <p:par>
                                <p:cTn id="93" presetID="10" presetClass="entr" presetSubtype="0" fill="hold" grpId="0" nodeType="afterEffect">
                                  <p:stCondLst>
                                    <p:cond delay="0"/>
                                  </p:stCondLst>
                                  <p:childTnLst>
                                    <p:set>
                                      <p:cBhvr>
                                        <p:cTn id="94" dur="1" fill="hold">
                                          <p:stCondLst>
                                            <p:cond delay="0"/>
                                          </p:stCondLst>
                                        </p:cTn>
                                        <p:tgtEl>
                                          <p:spTgt spid="228"/>
                                        </p:tgtEl>
                                        <p:attrNameLst>
                                          <p:attrName>style.visibility</p:attrName>
                                        </p:attrNameLst>
                                      </p:cBhvr>
                                      <p:to>
                                        <p:strVal val="visible"/>
                                      </p:to>
                                    </p:set>
                                    <p:animEffect transition="in" filter="fade">
                                      <p:cBhvr>
                                        <p:cTn id="95" dur="500"/>
                                        <p:tgtEl>
                                          <p:spTgt spid="228"/>
                                        </p:tgtEl>
                                      </p:cBhvr>
                                    </p:animEffect>
                                  </p:childTnLst>
                                </p:cTn>
                              </p:par>
                            </p:childTnLst>
                          </p:cTn>
                        </p:par>
                        <p:par>
                          <p:cTn id="96" fill="hold">
                            <p:stCondLst>
                              <p:cond delay="18500"/>
                            </p:stCondLst>
                            <p:childTnLst>
                              <p:par>
                                <p:cTn id="97" presetID="22" presetClass="entr" presetSubtype="4" fill="hold" nodeType="afterEffect">
                                  <p:stCondLst>
                                    <p:cond delay="0"/>
                                  </p:stCondLst>
                                  <p:childTnLst>
                                    <p:set>
                                      <p:cBhvr>
                                        <p:cTn id="98" dur="1" fill="hold">
                                          <p:stCondLst>
                                            <p:cond delay="0"/>
                                          </p:stCondLst>
                                        </p:cTn>
                                        <p:tgtEl>
                                          <p:spTgt spid="34"/>
                                        </p:tgtEl>
                                        <p:attrNameLst>
                                          <p:attrName>style.visibility</p:attrName>
                                        </p:attrNameLst>
                                      </p:cBhvr>
                                      <p:to>
                                        <p:strVal val="visible"/>
                                      </p:to>
                                    </p:set>
                                    <p:animEffect transition="in" filter="wipe(down)">
                                      <p:cBhvr>
                                        <p:cTn id="99" dur="500"/>
                                        <p:tgtEl>
                                          <p:spTgt spid="34"/>
                                        </p:tgtEl>
                                      </p:cBhvr>
                                    </p:animEffect>
                                  </p:childTnLst>
                                </p:cTn>
                              </p:par>
                            </p:childTnLst>
                          </p:cTn>
                        </p:par>
                        <p:par>
                          <p:cTn id="100" fill="hold">
                            <p:stCondLst>
                              <p:cond delay="19000"/>
                            </p:stCondLst>
                            <p:childTnLst>
                              <p:par>
                                <p:cTn id="101" presetID="10" presetClass="entr" presetSubtype="0" fill="hold" grpId="0" nodeType="afterEffect">
                                  <p:stCondLst>
                                    <p:cond delay="0"/>
                                  </p:stCondLst>
                                  <p:childTnLst>
                                    <p:set>
                                      <p:cBhvr>
                                        <p:cTn id="102" dur="1" fill="hold">
                                          <p:stCondLst>
                                            <p:cond delay="0"/>
                                          </p:stCondLst>
                                        </p:cTn>
                                        <p:tgtEl>
                                          <p:spTgt spid="69"/>
                                        </p:tgtEl>
                                        <p:attrNameLst>
                                          <p:attrName>style.visibility</p:attrName>
                                        </p:attrNameLst>
                                      </p:cBhvr>
                                      <p:to>
                                        <p:strVal val="visible"/>
                                      </p:to>
                                    </p:set>
                                    <p:animEffect transition="in" filter="fade">
                                      <p:cBhvr>
                                        <p:cTn id="103" dur="500"/>
                                        <p:tgtEl>
                                          <p:spTgt spid="69"/>
                                        </p:tgtEl>
                                      </p:cBhvr>
                                    </p:animEffect>
                                  </p:childTnLst>
                                </p:cTn>
                              </p:par>
                            </p:childTnLst>
                          </p:cTn>
                        </p:par>
                        <p:par>
                          <p:cTn id="104" fill="hold">
                            <p:stCondLst>
                              <p:cond delay="19500"/>
                            </p:stCondLst>
                            <p:childTnLst>
                              <p:par>
                                <p:cTn id="105" presetID="22" presetClass="entr" presetSubtype="8" fill="hold" nodeType="afterEffect">
                                  <p:stCondLst>
                                    <p:cond delay="0"/>
                                  </p:stCondLst>
                                  <p:childTnLst>
                                    <p:set>
                                      <p:cBhvr>
                                        <p:cTn id="106" dur="1" fill="hold">
                                          <p:stCondLst>
                                            <p:cond delay="0"/>
                                          </p:stCondLst>
                                        </p:cTn>
                                        <p:tgtEl>
                                          <p:spTgt spid="35"/>
                                        </p:tgtEl>
                                        <p:attrNameLst>
                                          <p:attrName>style.visibility</p:attrName>
                                        </p:attrNameLst>
                                      </p:cBhvr>
                                      <p:to>
                                        <p:strVal val="visible"/>
                                      </p:to>
                                    </p:set>
                                    <p:animEffect transition="in" filter="wipe(left)">
                                      <p:cBhvr>
                                        <p:cTn id="107" dur="500"/>
                                        <p:tgtEl>
                                          <p:spTgt spid="35"/>
                                        </p:tgtEl>
                                      </p:cBhvr>
                                    </p:animEffect>
                                  </p:childTnLst>
                                </p:cTn>
                              </p:par>
                            </p:childTnLst>
                          </p:cTn>
                        </p:par>
                        <p:par>
                          <p:cTn id="108" fill="hold">
                            <p:stCondLst>
                              <p:cond delay="20000"/>
                            </p:stCondLst>
                            <p:childTnLst>
                              <p:par>
                                <p:cTn id="109" presetID="10" presetClass="entr" presetSubtype="0" fill="hold" grpId="0" nodeType="afterEffect">
                                  <p:stCondLst>
                                    <p:cond delay="0"/>
                                  </p:stCondLst>
                                  <p:childTnLst>
                                    <p:set>
                                      <p:cBhvr>
                                        <p:cTn id="110" dur="1" fill="hold">
                                          <p:stCondLst>
                                            <p:cond delay="0"/>
                                          </p:stCondLst>
                                        </p:cTn>
                                        <p:tgtEl>
                                          <p:spTgt spid="71"/>
                                        </p:tgtEl>
                                        <p:attrNameLst>
                                          <p:attrName>style.visibility</p:attrName>
                                        </p:attrNameLst>
                                      </p:cBhvr>
                                      <p:to>
                                        <p:strVal val="visible"/>
                                      </p:to>
                                    </p:set>
                                    <p:animEffect transition="in" filter="fade">
                                      <p:cBhvr>
                                        <p:cTn id="111" dur="500"/>
                                        <p:tgtEl>
                                          <p:spTgt spid="71"/>
                                        </p:tgtEl>
                                      </p:cBhvr>
                                    </p:animEffect>
                                  </p:childTnLst>
                                </p:cTn>
                              </p:par>
                            </p:childTnLst>
                          </p:cTn>
                        </p:par>
                        <p:par>
                          <p:cTn id="112" fill="hold">
                            <p:stCondLst>
                              <p:cond delay="20500"/>
                            </p:stCondLst>
                            <p:childTnLst>
                              <p:par>
                                <p:cTn id="113" presetID="22" presetClass="entr" presetSubtype="8" fill="hold" nodeType="afterEffect">
                                  <p:stCondLst>
                                    <p:cond delay="0"/>
                                  </p:stCondLst>
                                  <p:childTnLst>
                                    <p:set>
                                      <p:cBhvr>
                                        <p:cTn id="114" dur="1" fill="hold">
                                          <p:stCondLst>
                                            <p:cond delay="0"/>
                                          </p:stCondLst>
                                        </p:cTn>
                                        <p:tgtEl>
                                          <p:spTgt spid="36"/>
                                        </p:tgtEl>
                                        <p:attrNameLst>
                                          <p:attrName>style.visibility</p:attrName>
                                        </p:attrNameLst>
                                      </p:cBhvr>
                                      <p:to>
                                        <p:strVal val="visible"/>
                                      </p:to>
                                    </p:set>
                                    <p:animEffect transition="in" filter="wipe(left)">
                                      <p:cBhvr>
                                        <p:cTn id="115" dur="500"/>
                                        <p:tgtEl>
                                          <p:spTgt spid="36"/>
                                        </p:tgtEl>
                                      </p:cBhvr>
                                    </p:animEffect>
                                  </p:childTnLst>
                                </p:cTn>
                              </p:par>
                            </p:childTnLst>
                          </p:cTn>
                        </p:par>
                        <p:par>
                          <p:cTn id="116" fill="hold">
                            <p:stCondLst>
                              <p:cond delay="21000"/>
                            </p:stCondLst>
                            <p:childTnLst>
                              <p:par>
                                <p:cTn id="117" presetID="10" presetClass="entr" presetSubtype="0" fill="hold" grpId="0" nodeType="afterEffect">
                                  <p:stCondLst>
                                    <p:cond delay="0"/>
                                  </p:stCondLst>
                                  <p:childTnLst>
                                    <p:set>
                                      <p:cBhvr>
                                        <p:cTn id="118" dur="1" fill="hold">
                                          <p:stCondLst>
                                            <p:cond delay="0"/>
                                          </p:stCondLst>
                                        </p:cTn>
                                        <p:tgtEl>
                                          <p:spTgt spid="132"/>
                                        </p:tgtEl>
                                        <p:attrNameLst>
                                          <p:attrName>style.visibility</p:attrName>
                                        </p:attrNameLst>
                                      </p:cBhvr>
                                      <p:to>
                                        <p:strVal val="visible"/>
                                      </p:to>
                                    </p:set>
                                    <p:animEffect transition="in" filter="fade">
                                      <p:cBhvr>
                                        <p:cTn id="119" dur="500"/>
                                        <p:tgtEl>
                                          <p:spTgt spid="132"/>
                                        </p:tgtEl>
                                      </p:cBhvr>
                                    </p:animEffect>
                                  </p:childTnLst>
                                </p:cTn>
                              </p:par>
                            </p:childTnLst>
                          </p:cTn>
                        </p:par>
                        <p:par>
                          <p:cTn id="120" fill="hold">
                            <p:stCondLst>
                              <p:cond delay="21500"/>
                            </p:stCondLst>
                            <p:childTnLst>
                              <p:par>
                                <p:cTn id="121" presetID="22" presetClass="entr" presetSubtype="8" fill="hold" nodeType="afterEffect">
                                  <p:stCondLst>
                                    <p:cond delay="0"/>
                                  </p:stCondLst>
                                  <p:childTnLst>
                                    <p:set>
                                      <p:cBhvr>
                                        <p:cTn id="122" dur="1" fill="hold">
                                          <p:stCondLst>
                                            <p:cond delay="0"/>
                                          </p:stCondLst>
                                        </p:cTn>
                                        <p:tgtEl>
                                          <p:spTgt spid="49"/>
                                        </p:tgtEl>
                                        <p:attrNameLst>
                                          <p:attrName>style.visibility</p:attrName>
                                        </p:attrNameLst>
                                      </p:cBhvr>
                                      <p:to>
                                        <p:strVal val="visible"/>
                                      </p:to>
                                    </p:set>
                                    <p:animEffect transition="in" filter="wipe(left)">
                                      <p:cBhvr>
                                        <p:cTn id="123" dur="500"/>
                                        <p:tgtEl>
                                          <p:spTgt spid="49"/>
                                        </p:tgtEl>
                                      </p:cBhvr>
                                    </p:animEffect>
                                  </p:childTnLst>
                                </p:cTn>
                              </p:par>
                            </p:childTnLst>
                          </p:cTn>
                        </p:par>
                        <p:par>
                          <p:cTn id="124" fill="hold">
                            <p:stCondLst>
                              <p:cond delay="22000"/>
                            </p:stCondLst>
                            <p:childTnLst>
                              <p:par>
                                <p:cTn id="125" presetID="10" presetClass="entr" presetSubtype="0" fill="hold" grpId="0" nodeType="afterEffect">
                                  <p:stCondLst>
                                    <p:cond delay="0"/>
                                  </p:stCondLst>
                                  <p:childTnLst>
                                    <p:set>
                                      <p:cBhvr>
                                        <p:cTn id="126" dur="1" fill="hold">
                                          <p:stCondLst>
                                            <p:cond delay="0"/>
                                          </p:stCondLst>
                                        </p:cTn>
                                        <p:tgtEl>
                                          <p:spTgt spid="121"/>
                                        </p:tgtEl>
                                        <p:attrNameLst>
                                          <p:attrName>style.visibility</p:attrName>
                                        </p:attrNameLst>
                                      </p:cBhvr>
                                      <p:to>
                                        <p:strVal val="visible"/>
                                      </p:to>
                                    </p:set>
                                    <p:animEffect transition="in" filter="fade">
                                      <p:cBhvr>
                                        <p:cTn id="127" dur="500"/>
                                        <p:tgtEl>
                                          <p:spTgt spid="121"/>
                                        </p:tgtEl>
                                      </p:cBhvr>
                                    </p:animEffect>
                                  </p:childTnLst>
                                </p:cTn>
                              </p:par>
                            </p:childTnLst>
                          </p:cTn>
                        </p:par>
                        <p:par>
                          <p:cTn id="128" fill="hold">
                            <p:stCondLst>
                              <p:cond delay="22500"/>
                            </p:stCondLst>
                            <p:childTnLst>
                              <p:par>
                                <p:cTn id="129" presetID="22" presetClass="entr" presetSubtype="8" fill="hold" nodeType="afterEffect">
                                  <p:stCondLst>
                                    <p:cond delay="0"/>
                                  </p:stCondLst>
                                  <p:childTnLst>
                                    <p:set>
                                      <p:cBhvr>
                                        <p:cTn id="130" dur="1" fill="hold">
                                          <p:stCondLst>
                                            <p:cond delay="0"/>
                                          </p:stCondLst>
                                        </p:cTn>
                                        <p:tgtEl>
                                          <p:spTgt spid="50"/>
                                        </p:tgtEl>
                                        <p:attrNameLst>
                                          <p:attrName>style.visibility</p:attrName>
                                        </p:attrNameLst>
                                      </p:cBhvr>
                                      <p:to>
                                        <p:strVal val="visible"/>
                                      </p:to>
                                    </p:set>
                                    <p:animEffect transition="in" filter="wipe(left)">
                                      <p:cBhvr>
                                        <p:cTn id="131" dur="500"/>
                                        <p:tgtEl>
                                          <p:spTgt spid="50"/>
                                        </p:tgtEl>
                                      </p:cBhvr>
                                    </p:animEffect>
                                  </p:childTnLst>
                                </p:cTn>
                              </p:par>
                            </p:childTnLst>
                          </p:cTn>
                        </p:par>
                        <p:par>
                          <p:cTn id="132" fill="hold">
                            <p:stCondLst>
                              <p:cond delay="23000"/>
                            </p:stCondLst>
                            <p:childTnLst>
                              <p:par>
                                <p:cTn id="133" presetID="10" presetClass="entr" presetSubtype="0" fill="hold" grpId="0" nodeType="afterEffect">
                                  <p:stCondLst>
                                    <p:cond delay="0"/>
                                  </p:stCondLst>
                                  <p:childTnLst>
                                    <p:set>
                                      <p:cBhvr>
                                        <p:cTn id="134" dur="1" fill="hold">
                                          <p:stCondLst>
                                            <p:cond delay="0"/>
                                          </p:stCondLst>
                                        </p:cTn>
                                        <p:tgtEl>
                                          <p:spTgt spid="119"/>
                                        </p:tgtEl>
                                        <p:attrNameLst>
                                          <p:attrName>style.visibility</p:attrName>
                                        </p:attrNameLst>
                                      </p:cBhvr>
                                      <p:to>
                                        <p:strVal val="visible"/>
                                      </p:to>
                                    </p:set>
                                    <p:animEffect transition="in" filter="fade">
                                      <p:cBhvr>
                                        <p:cTn id="135" dur="500"/>
                                        <p:tgtEl>
                                          <p:spTgt spid="119"/>
                                        </p:tgtEl>
                                      </p:cBhvr>
                                    </p:animEffect>
                                  </p:childTnLst>
                                </p:cTn>
                              </p:par>
                            </p:childTnLst>
                          </p:cTn>
                        </p:par>
                        <p:par>
                          <p:cTn id="136" fill="hold">
                            <p:stCondLst>
                              <p:cond delay="23500"/>
                            </p:stCondLst>
                            <p:childTnLst>
                              <p:par>
                                <p:cTn id="137" presetID="22" presetClass="entr" presetSubtype="8" fill="hold" nodeType="afterEffect">
                                  <p:stCondLst>
                                    <p:cond delay="0"/>
                                  </p:stCondLst>
                                  <p:childTnLst>
                                    <p:set>
                                      <p:cBhvr>
                                        <p:cTn id="138" dur="1" fill="hold">
                                          <p:stCondLst>
                                            <p:cond delay="0"/>
                                          </p:stCondLst>
                                        </p:cTn>
                                        <p:tgtEl>
                                          <p:spTgt spid="57"/>
                                        </p:tgtEl>
                                        <p:attrNameLst>
                                          <p:attrName>style.visibility</p:attrName>
                                        </p:attrNameLst>
                                      </p:cBhvr>
                                      <p:to>
                                        <p:strVal val="visible"/>
                                      </p:to>
                                    </p:set>
                                    <p:animEffect transition="in" filter="wipe(left)">
                                      <p:cBhvr>
                                        <p:cTn id="139" dur="500"/>
                                        <p:tgtEl>
                                          <p:spTgt spid="57"/>
                                        </p:tgtEl>
                                      </p:cBhvr>
                                    </p:animEffect>
                                  </p:childTnLst>
                                </p:cTn>
                              </p:par>
                            </p:childTnLst>
                          </p:cTn>
                        </p:par>
                        <p:par>
                          <p:cTn id="140" fill="hold">
                            <p:stCondLst>
                              <p:cond delay="24000"/>
                            </p:stCondLst>
                            <p:childTnLst>
                              <p:par>
                                <p:cTn id="141" presetID="10" presetClass="entr" presetSubtype="0" fill="hold" grpId="0" nodeType="afterEffect">
                                  <p:stCondLst>
                                    <p:cond delay="0"/>
                                  </p:stCondLst>
                                  <p:childTnLst>
                                    <p:set>
                                      <p:cBhvr>
                                        <p:cTn id="142" dur="1" fill="hold">
                                          <p:stCondLst>
                                            <p:cond delay="0"/>
                                          </p:stCondLst>
                                        </p:cTn>
                                        <p:tgtEl>
                                          <p:spTgt spid="74"/>
                                        </p:tgtEl>
                                        <p:attrNameLst>
                                          <p:attrName>style.visibility</p:attrName>
                                        </p:attrNameLst>
                                      </p:cBhvr>
                                      <p:to>
                                        <p:strVal val="visible"/>
                                      </p:to>
                                    </p:set>
                                    <p:animEffect transition="in" filter="fade">
                                      <p:cBhvr>
                                        <p:cTn id="143" dur="500"/>
                                        <p:tgtEl>
                                          <p:spTgt spid="74"/>
                                        </p:tgtEl>
                                      </p:cBhvr>
                                    </p:animEffect>
                                  </p:childTnLst>
                                </p:cTn>
                              </p:par>
                            </p:childTnLst>
                          </p:cTn>
                        </p:par>
                        <p:par>
                          <p:cTn id="144" fill="hold">
                            <p:stCondLst>
                              <p:cond delay="24500"/>
                            </p:stCondLst>
                            <p:childTnLst>
                              <p:par>
                                <p:cTn id="145" presetID="22" presetClass="entr" presetSubtype="8" fill="hold" nodeType="afterEffect">
                                  <p:stCondLst>
                                    <p:cond delay="0"/>
                                  </p:stCondLst>
                                  <p:childTnLst>
                                    <p:set>
                                      <p:cBhvr>
                                        <p:cTn id="146" dur="1" fill="hold">
                                          <p:stCondLst>
                                            <p:cond delay="0"/>
                                          </p:stCondLst>
                                        </p:cTn>
                                        <p:tgtEl>
                                          <p:spTgt spid="58"/>
                                        </p:tgtEl>
                                        <p:attrNameLst>
                                          <p:attrName>style.visibility</p:attrName>
                                        </p:attrNameLst>
                                      </p:cBhvr>
                                      <p:to>
                                        <p:strVal val="visible"/>
                                      </p:to>
                                    </p:set>
                                    <p:animEffect transition="in" filter="wipe(left)">
                                      <p:cBhvr>
                                        <p:cTn id="147" dur="500"/>
                                        <p:tgtEl>
                                          <p:spTgt spid="58"/>
                                        </p:tgtEl>
                                      </p:cBhvr>
                                    </p:animEffect>
                                  </p:childTnLst>
                                </p:cTn>
                              </p:par>
                            </p:childTnLst>
                          </p:cTn>
                        </p:par>
                        <p:par>
                          <p:cTn id="148" fill="hold">
                            <p:stCondLst>
                              <p:cond delay="25000"/>
                            </p:stCondLst>
                            <p:childTnLst>
                              <p:par>
                                <p:cTn id="149" presetID="10" presetClass="entr" presetSubtype="0" fill="hold" grpId="0" nodeType="afterEffect">
                                  <p:stCondLst>
                                    <p:cond delay="0"/>
                                  </p:stCondLst>
                                  <p:childTnLst>
                                    <p:set>
                                      <p:cBhvr>
                                        <p:cTn id="150" dur="1" fill="hold">
                                          <p:stCondLst>
                                            <p:cond delay="0"/>
                                          </p:stCondLst>
                                        </p:cTn>
                                        <p:tgtEl>
                                          <p:spTgt spid="75"/>
                                        </p:tgtEl>
                                        <p:attrNameLst>
                                          <p:attrName>style.visibility</p:attrName>
                                        </p:attrNameLst>
                                      </p:cBhvr>
                                      <p:to>
                                        <p:strVal val="visible"/>
                                      </p:to>
                                    </p:set>
                                    <p:animEffect transition="in" filter="fade">
                                      <p:cBhvr>
                                        <p:cTn id="151" dur="500"/>
                                        <p:tgtEl>
                                          <p:spTgt spid="75"/>
                                        </p:tgtEl>
                                      </p:cBhvr>
                                    </p:animEffect>
                                  </p:childTnLst>
                                </p:cTn>
                              </p:par>
                            </p:childTnLst>
                          </p:cTn>
                        </p:par>
                        <p:par>
                          <p:cTn id="152" fill="hold">
                            <p:stCondLst>
                              <p:cond delay="25500"/>
                            </p:stCondLst>
                            <p:childTnLst>
                              <p:par>
                                <p:cTn id="153" presetID="22" presetClass="entr" presetSubtype="8" fill="hold" nodeType="afterEffect">
                                  <p:stCondLst>
                                    <p:cond delay="0"/>
                                  </p:stCondLst>
                                  <p:childTnLst>
                                    <p:set>
                                      <p:cBhvr>
                                        <p:cTn id="154" dur="1" fill="hold">
                                          <p:stCondLst>
                                            <p:cond delay="0"/>
                                          </p:stCondLst>
                                        </p:cTn>
                                        <p:tgtEl>
                                          <p:spTgt spid="59"/>
                                        </p:tgtEl>
                                        <p:attrNameLst>
                                          <p:attrName>style.visibility</p:attrName>
                                        </p:attrNameLst>
                                      </p:cBhvr>
                                      <p:to>
                                        <p:strVal val="visible"/>
                                      </p:to>
                                    </p:set>
                                    <p:animEffect transition="in" filter="wipe(left)">
                                      <p:cBhvr>
                                        <p:cTn id="155" dur="500"/>
                                        <p:tgtEl>
                                          <p:spTgt spid="59"/>
                                        </p:tgtEl>
                                      </p:cBhvr>
                                    </p:animEffect>
                                  </p:childTnLst>
                                </p:cTn>
                              </p:par>
                            </p:childTnLst>
                          </p:cTn>
                        </p:par>
                        <p:par>
                          <p:cTn id="156" fill="hold">
                            <p:stCondLst>
                              <p:cond delay="26000"/>
                            </p:stCondLst>
                            <p:childTnLst>
                              <p:par>
                                <p:cTn id="157" presetID="10" presetClass="entr" presetSubtype="0" fill="hold" grpId="0" nodeType="afterEffect">
                                  <p:stCondLst>
                                    <p:cond delay="0"/>
                                  </p:stCondLst>
                                  <p:childTnLst>
                                    <p:set>
                                      <p:cBhvr>
                                        <p:cTn id="158" dur="1" fill="hold">
                                          <p:stCondLst>
                                            <p:cond delay="0"/>
                                          </p:stCondLst>
                                        </p:cTn>
                                        <p:tgtEl>
                                          <p:spTgt spid="125"/>
                                        </p:tgtEl>
                                        <p:attrNameLst>
                                          <p:attrName>style.visibility</p:attrName>
                                        </p:attrNameLst>
                                      </p:cBhvr>
                                      <p:to>
                                        <p:strVal val="visible"/>
                                      </p:to>
                                    </p:set>
                                    <p:animEffect transition="in" filter="fade">
                                      <p:cBhvr>
                                        <p:cTn id="159" dur="500"/>
                                        <p:tgtEl>
                                          <p:spTgt spid="125"/>
                                        </p:tgtEl>
                                      </p:cBhvr>
                                    </p:animEffect>
                                  </p:childTnLst>
                                </p:cTn>
                              </p:par>
                            </p:childTnLst>
                          </p:cTn>
                        </p:par>
                        <p:par>
                          <p:cTn id="160" fill="hold">
                            <p:stCondLst>
                              <p:cond delay="26500"/>
                            </p:stCondLst>
                            <p:childTnLst>
                              <p:par>
                                <p:cTn id="161" presetID="22" presetClass="entr" presetSubtype="1" fill="hold" grpId="0" nodeType="afterEffect">
                                  <p:stCondLst>
                                    <p:cond delay="1000"/>
                                  </p:stCondLst>
                                  <p:childTnLst>
                                    <p:set>
                                      <p:cBhvr>
                                        <p:cTn id="162" dur="1" fill="hold">
                                          <p:stCondLst>
                                            <p:cond delay="0"/>
                                          </p:stCondLst>
                                        </p:cTn>
                                        <p:tgtEl>
                                          <p:spTgt spid="104"/>
                                        </p:tgtEl>
                                        <p:attrNameLst>
                                          <p:attrName>style.visibility</p:attrName>
                                        </p:attrNameLst>
                                      </p:cBhvr>
                                      <p:to>
                                        <p:strVal val="visible"/>
                                      </p:to>
                                    </p:set>
                                    <p:animEffect transition="in" filter="wipe(up)">
                                      <p:cBhvr>
                                        <p:cTn id="163" dur="500"/>
                                        <p:tgtEl>
                                          <p:spTgt spid="104"/>
                                        </p:tgtEl>
                                      </p:cBhvr>
                                    </p:animEffect>
                                  </p:childTnLst>
                                </p:cTn>
                              </p:par>
                            </p:childTnLst>
                          </p:cTn>
                        </p:par>
                        <p:par>
                          <p:cTn id="164" fill="hold">
                            <p:stCondLst>
                              <p:cond delay="28000"/>
                            </p:stCondLst>
                            <p:childTnLst>
                              <p:par>
                                <p:cTn id="165" presetID="10" presetClass="entr" presetSubtype="0" repeatCount="0" fill="hold" grpId="0" nodeType="afterEffect">
                                  <p:stCondLst>
                                    <p:cond delay="500"/>
                                  </p:stCondLst>
                                  <p:childTnLst>
                                    <p:set>
                                      <p:cBhvr>
                                        <p:cTn id="166" dur="1" fill="hold">
                                          <p:stCondLst>
                                            <p:cond delay="0"/>
                                          </p:stCondLst>
                                        </p:cTn>
                                        <p:tgtEl>
                                          <p:spTgt spid="126"/>
                                        </p:tgtEl>
                                        <p:attrNameLst>
                                          <p:attrName>style.visibility</p:attrName>
                                        </p:attrNameLst>
                                      </p:cBhvr>
                                      <p:to>
                                        <p:strVal val="visible"/>
                                      </p:to>
                                    </p:set>
                                    <p:animEffect transition="in" filter="fade">
                                      <p:cBhvr>
                                        <p:cTn id="167" dur="500"/>
                                        <p:tgtEl>
                                          <p:spTgt spid="126"/>
                                        </p:tgtEl>
                                      </p:cBhvr>
                                    </p:animEffect>
                                  </p:childTnLst>
                                </p:cTn>
                              </p:par>
                              <p:par>
                                <p:cTn id="168" presetID="3" presetClass="entr" presetSubtype="5" fill="hold" grpId="0" nodeType="withEffect">
                                  <p:stCondLst>
                                    <p:cond delay="0"/>
                                  </p:stCondLst>
                                  <p:childTnLst>
                                    <p:set>
                                      <p:cBhvr>
                                        <p:cTn id="169" dur="1" fill="hold">
                                          <p:stCondLst>
                                            <p:cond delay="0"/>
                                          </p:stCondLst>
                                        </p:cTn>
                                        <p:tgtEl>
                                          <p:spTgt spid="209"/>
                                        </p:tgtEl>
                                        <p:attrNameLst>
                                          <p:attrName>style.visibility</p:attrName>
                                        </p:attrNameLst>
                                      </p:cBhvr>
                                      <p:to>
                                        <p:strVal val="visible"/>
                                      </p:to>
                                    </p:set>
                                    <p:animEffect transition="in" filter="blinds(vertical)">
                                      <p:cBhvr>
                                        <p:cTn id="170" dur="500"/>
                                        <p:tgtEl>
                                          <p:spTgt spid="209"/>
                                        </p:tgtEl>
                                      </p:cBhvr>
                                    </p:animEffect>
                                  </p:childTnLst>
                                </p:cTn>
                              </p:par>
                            </p:childTnLst>
                          </p:cTn>
                        </p:par>
                        <p:par>
                          <p:cTn id="171" fill="hold">
                            <p:stCondLst>
                              <p:cond delay="29000"/>
                            </p:stCondLst>
                            <p:childTnLst>
                              <p:par>
                                <p:cTn id="172" presetID="10" presetClass="entr" presetSubtype="0" repeatCount="0" fill="hold" grpId="0" nodeType="afterEffect">
                                  <p:stCondLst>
                                    <p:cond delay="0"/>
                                  </p:stCondLst>
                                  <p:childTnLst>
                                    <p:set>
                                      <p:cBhvr>
                                        <p:cTn id="173" dur="1" fill="hold">
                                          <p:stCondLst>
                                            <p:cond delay="0"/>
                                          </p:stCondLst>
                                        </p:cTn>
                                        <p:tgtEl>
                                          <p:spTgt spid="80"/>
                                        </p:tgtEl>
                                        <p:attrNameLst>
                                          <p:attrName>style.visibility</p:attrName>
                                        </p:attrNameLst>
                                      </p:cBhvr>
                                      <p:to>
                                        <p:strVal val="visible"/>
                                      </p:to>
                                    </p:set>
                                    <p:animEffect transition="in" filter="fade">
                                      <p:cBhvr>
                                        <p:cTn id="174" dur="500"/>
                                        <p:tgtEl>
                                          <p:spTgt spid="80"/>
                                        </p:tgtEl>
                                      </p:cBhvr>
                                    </p:animEffect>
                                  </p:childTnLst>
                                </p:cTn>
                              </p:par>
                            </p:childTnLst>
                          </p:cTn>
                        </p:par>
                        <p:par>
                          <p:cTn id="175" fill="hold">
                            <p:stCondLst>
                              <p:cond delay="29500"/>
                            </p:stCondLst>
                            <p:childTnLst>
                              <p:par>
                                <p:cTn id="176" presetID="10" presetClass="entr" presetSubtype="0" repeatCount="0" fill="hold" grpId="0" nodeType="afterEffect">
                                  <p:stCondLst>
                                    <p:cond delay="0"/>
                                  </p:stCondLst>
                                  <p:childTnLst>
                                    <p:set>
                                      <p:cBhvr>
                                        <p:cTn id="177" dur="1" fill="hold">
                                          <p:stCondLst>
                                            <p:cond delay="0"/>
                                          </p:stCondLst>
                                        </p:cTn>
                                        <p:tgtEl>
                                          <p:spTgt spid="81"/>
                                        </p:tgtEl>
                                        <p:attrNameLst>
                                          <p:attrName>style.visibility</p:attrName>
                                        </p:attrNameLst>
                                      </p:cBhvr>
                                      <p:to>
                                        <p:strVal val="visible"/>
                                      </p:to>
                                    </p:set>
                                    <p:animEffect transition="in" filter="fade">
                                      <p:cBhvr>
                                        <p:cTn id="178" dur="500"/>
                                        <p:tgtEl>
                                          <p:spTgt spid="81"/>
                                        </p:tgtEl>
                                      </p:cBhvr>
                                    </p:animEffect>
                                  </p:childTnLst>
                                </p:cTn>
                              </p:par>
                            </p:childTnLst>
                          </p:cTn>
                        </p:par>
                        <p:par>
                          <p:cTn id="179" fill="hold">
                            <p:stCondLst>
                              <p:cond delay="30000"/>
                            </p:stCondLst>
                            <p:childTnLst>
                              <p:par>
                                <p:cTn id="180" presetID="10" presetClass="entr" presetSubtype="0" fill="hold" grpId="1" nodeType="afterEffect">
                                  <p:stCondLst>
                                    <p:cond delay="0"/>
                                  </p:stCondLst>
                                  <p:childTnLst>
                                    <p:set>
                                      <p:cBhvr>
                                        <p:cTn id="181" dur="1" fill="hold">
                                          <p:stCondLst>
                                            <p:cond delay="0"/>
                                          </p:stCondLst>
                                        </p:cTn>
                                        <p:tgtEl>
                                          <p:spTgt spid="126"/>
                                        </p:tgtEl>
                                        <p:attrNameLst>
                                          <p:attrName>style.visibility</p:attrName>
                                        </p:attrNameLst>
                                      </p:cBhvr>
                                      <p:to>
                                        <p:strVal val="visible"/>
                                      </p:to>
                                    </p:set>
                                    <p:animEffect transition="in" filter="fade">
                                      <p:cBhvr>
                                        <p:cTn id="182" dur="500"/>
                                        <p:tgtEl>
                                          <p:spTgt spid="126"/>
                                        </p:tgtEl>
                                      </p:cBhvr>
                                    </p:animEffect>
                                  </p:childTnLst>
                                </p:cTn>
                              </p:par>
                            </p:childTnLst>
                          </p:cTn>
                        </p:par>
                        <p:par>
                          <p:cTn id="183" fill="hold">
                            <p:stCondLst>
                              <p:cond delay="30500"/>
                            </p:stCondLst>
                            <p:childTnLst>
                              <p:par>
                                <p:cTn id="184" presetID="10" presetClass="entr" presetSubtype="0" fill="hold" grpId="1" nodeType="afterEffect">
                                  <p:stCondLst>
                                    <p:cond delay="0"/>
                                  </p:stCondLst>
                                  <p:childTnLst>
                                    <p:set>
                                      <p:cBhvr>
                                        <p:cTn id="185" dur="1" fill="hold">
                                          <p:stCondLst>
                                            <p:cond delay="0"/>
                                          </p:stCondLst>
                                        </p:cTn>
                                        <p:tgtEl>
                                          <p:spTgt spid="80"/>
                                        </p:tgtEl>
                                        <p:attrNameLst>
                                          <p:attrName>style.visibility</p:attrName>
                                        </p:attrNameLst>
                                      </p:cBhvr>
                                      <p:to>
                                        <p:strVal val="visible"/>
                                      </p:to>
                                    </p:set>
                                    <p:animEffect transition="in" filter="fade">
                                      <p:cBhvr>
                                        <p:cTn id="186" dur="500"/>
                                        <p:tgtEl>
                                          <p:spTgt spid="80"/>
                                        </p:tgtEl>
                                      </p:cBhvr>
                                    </p:animEffect>
                                  </p:childTnLst>
                                </p:cTn>
                              </p:par>
                            </p:childTnLst>
                          </p:cTn>
                        </p:par>
                        <p:par>
                          <p:cTn id="187" fill="hold">
                            <p:stCondLst>
                              <p:cond delay="31000"/>
                            </p:stCondLst>
                            <p:childTnLst>
                              <p:par>
                                <p:cTn id="188" presetID="10" presetClass="entr" presetSubtype="0" fill="hold" grpId="1" nodeType="afterEffect">
                                  <p:stCondLst>
                                    <p:cond delay="0"/>
                                  </p:stCondLst>
                                  <p:childTnLst>
                                    <p:set>
                                      <p:cBhvr>
                                        <p:cTn id="189" dur="1" fill="hold">
                                          <p:stCondLst>
                                            <p:cond delay="0"/>
                                          </p:stCondLst>
                                        </p:cTn>
                                        <p:tgtEl>
                                          <p:spTgt spid="81"/>
                                        </p:tgtEl>
                                        <p:attrNameLst>
                                          <p:attrName>style.visibility</p:attrName>
                                        </p:attrNameLst>
                                      </p:cBhvr>
                                      <p:to>
                                        <p:strVal val="visible"/>
                                      </p:to>
                                    </p:set>
                                    <p:animEffect transition="in" filter="fade">
                                      <p:cBhvr>
                                        <p:cTn id="190" dur="500"/>
                                        <p:tgtEl>
                                          <p:spTgt spid="81"/>
                                        </p:tgtEl>
                                      </p:cBhvr>
                                    </p:animEffect>
                                  </p:childTnLst>
                                </p:cTn>
                              </p:par>
                            </p:childTnLst>
                          </p:cTn>
                        </p:par>
                        <p:par>
                          <p:cTn id="191" fill="hold">
                            <p:stCondLst>
                              <p:cond delay="31500"/>
                            </p:stCondLst>
                            <p:childTnLst>
                              <p:par>
                                <p:cTn id="192" presetID="10" presetClass="entr" presetSubtype="0" fill="hold" grpId="2" nodeType="afterEffect">
                                  <p:stCondLst>
                                    <p:cond delay="0"/>
                                  </p:stCondLst>
                                  <p:childTnLst>
                                    <p:set>
                                      <p:cBhvr>
                                        <p:cTn id="193" dur="1" fill="hold">
                                          <p:stCondLst>
                                            <p:cond delay="0"/>
                                          </p:stCondLst>
                                        </p:cTn>
                                        <p:tgtEl>
                                          <p:spTgt spid="126"/>
                                        </p:tgtEl>
                                        <p:attrNameLst>
                                          <p:attrName>style.visibility</p:attrName>
                                        </p:attrNameLst>
                                      </p:cBhvr>
                                      <p:to>
                                        <p:strVal val="visible"/>
                                      </p:to>
                                    </p:set>
                                    <p:animEffect transition="in" filter="fade">
                                      <p:cBhvr>
                                        <p:cTn id="194" dur="500"/>
                                        <p:tgtEl>
                                          <p:spTgt spid="126"/>
                                        </p:tgtEl>
                                      </p:cBhvr>
                                    </p:animEffect>
                                  </p:childTnLst>
                                </p:cTn>
                              </p:par>
                            </p:childTnLst>
                          </p:cTn>
                        </p:par>
                        <p:par>
                          <p:cTn id="195" fill="hold">
                            <p:stCondLst>
                              <p:cond delay="32000"/>
                            </p:stCondLst>
                            <p:childTnLst>
                              <p:par>
                                <p:cTn id="196" presetID="10" presetClass="entr" presetSubtype="0" fill="hold" grpId="2" nodeType="afterEffect">
                                  <p:stCondLst>
                                    <p:cond delay="0"/>
                                  </p:stCondLst>
                                  <p:childTnLst>
                                    <p:set>
                                      <p:cBhvr>
                                        <p:cTn id="197" dur="1" fill="hold">
                                          <p:stCondLst>
                                            <p:cond delay="0"/>
                                          </p:stCondLst>
                                        </p:cTn>
                                        <p:tgtEl>
                                          <p:spTgt spid="80"/>
                                        </p:tgtEl>
                                        <p:attrNameLst>
                                          <p:attrName>style.visibility</p:attrName>
                                        </p:attrNameLst>
                                      </p:cBhvr>
                                      <p:to>
                                        <p:strVal val="visible"/>
                                      </p:to>
                                    </p:set>
                                    <p:animEffect transition="in" filter="fade">
                                      <p:cBhvr>
                                        <p:cTn id="198" dur="500"/>
                                        <p:tgtEl>
                                          <p:spTgt spid="80"/>
                                        </p:tgtEl>
                                      </p:cBhvr>
                                    </p:animEffect>
                                  </p:childTnLst>
                                </p:cTn>
                              </p:par>
                            </p:childTnLst>
                          </p:cTn>
                        </p:par>
                        <p:par>
                          <p:cTn id="199" fill="hold">
                            <p:stCondLst>
                              <p:cond delay="32500"/>
                            </p:stCondLst>
                            <p:childTnLst>
                              <p:par>
                                <p:cTn id="200" presetID="10" presetClass="entr" presetSubtype="0" fill="hold" grpId="2" nodeType="afterEffect">
                                  <p:stCondLst>
                                    <p:cond delay="0"/>
                                  </p:stCondLst>
                                  <p:childTnLst>
                                    <p:set>
                                      <p:cBhvr>
                                        <p:cTn id="201" dur="1" fill="hold">
                                          <p:stCondLst>
                                            <p:cond delay="0"/>
                                          </p:stCondLst>
                                        </p:cTn>
                                        <p:tgtEl>
                                          <p:spTgt spid="81"/>
                                        </p:tgtEl>
                                        <p:attrNameLst>
                                          <p:attrName>style.visibility</p:attrName>
                                        </p:attrNameLst>
                                      </p:cBhvr>
                                      <p:to>
                                        <p:strVal val="visible"/>
                                      </p:to>
                                    </p:set>
                                    <p:animEffect transition="in" filter="fade">
                                      <p:cBhvr>
                                        <p:cTn id="202"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p:bldP spid="107" grpId="1"/>
      <p:bldP spid="56" grpId="0"/>
      <p:bldP spid="56" grpId="1"/>
      <p:bldP spid="104" grpId="0" animBg="1"/>
      <p:bldP spid="141" grpId="0"/>
      <p:bldP spid="131" grpId="0"/>
      <p:bldP spid="145" grpId="0"/>
      <p:bldP spid="124" grpId="0"/>
      <p:bldP spid="129" grpId="0"/>
      <p:bldP spid="128" grpId="0"/>
      <p:bldP spid="165" grpId="0"/>
      <p:bldP spid="169" grpId="0"/>
      <p:bldP spid="209" grpId="0"/>
      <p:bldP spid="126" grpId="0" animBg="1"/>
      <p:bldP spid="126" grpId="1" animBg="1"/>
      <p:bldP spid="126" grpId="2" animBg="1"/>
      <p:bldP spid="80" grpId="0" animBg="1"/>
      <p:bldP spid="80" grpId="1" animBg="1"/>
      <p:bldP spid="80" grpId="2" animBg="1"/>
      <p:bldP spid="81" grpId="0" animBg="1"/>
      <p:bldP spid="81" grpId="1" animBg="1"/>
      <p:bldP spid="81" grpId="2" animBg="1"/>
      <p:bldP spid="69" grpId="0"/>
      <p:bldP spid="71" grpId="0"/>
      <p:bldP spid="74" grpId="0"/>
      <p:bldP spid="75" grpId="0"/>
      <p:bldP spid="119" grpId="0"/>
      <p:bldP spid="121" grpId="0"/>
      <p:bldP spid="228" grpId="0"/>
      <p:bldP spid="132" grpId="0"/>
      <p:bldP spid="125" grpId="0"/>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0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10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10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10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0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6.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0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0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0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1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11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11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11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11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20.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16:9"/>
  <p:tag name="CDT_MASTERS_NAME" val="Title fullscreen (big bar up)"/>
  <p:tag name="CDT_LAYOUT_TYPE" val="1"/>
  <p:tag name="CDT_ORIGINAL_DESIGNS_NAME" val="Siemens 2013 – 16:9"/>
  <p:tag name="CDT_ORIGINAL_MASTERS_NAME" val="Title fullscreen (big bar up)"/>
  <p:tag name="CDT_ORIGINAL_LAYOUT_TYPE" val="1"/>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gK4oF67SzGexEh9unUN3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EE4P_TEMPLATESTYLE" val="7"/>
  <p:tag name="EE4P_TEMPLATEMASTER" val="1"/>
</p:tagLst>
</file>

<file path=ppt/tags/tag125.xml><?xml version="1.0" encoding="utf-8"?>
<p:tagLst xmlns:a="http://schemas.openxmlformats.org/drawingml/2006/main" xmlns:r="http://schemas.openxmlformats.org/officeDocument/2006/relationships" xmlns:p="http://schemas.openxmlformats.org/presentationml/2006/main">
  <p:tag name="EE4P_TEMPLATESTYLE" val="7"/>
  <p:tag name="EE4P_TEMPLATEMASTER" val="1"/>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29.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1.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5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7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5.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7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8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8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9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9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9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9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heme/theme1.xml><?xml version="1.0" encoding="utf-8"?>
<a:theme xmlns:a="http://schemas.openxmlformats.org/drawingml/2006/main" name="Siemens 2020">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custClrLst>
    <a:custClr name="Dark Gray | 102 102 126">
      <a:srgbClr val="66667E"/>
    </a:custClr>
    <a:custClr name="Gray | 153 153 169">
      <a:srgbClr val="9999A9"/>
    </a:custClr>
    <a:custClr name="Soft Gray | 204 204 212">
      <a:srgbClr val="CCCCD4"/>
    </a:custClr>
    <a:custClr name="Light Gray | 229 229 233">
      <a:srgbClr val="E5E5E9"/>
    </a:custClr>
    <a:custClr name="Purple | 170 50 190">
      <a:srgbClr val="AA32BE"/>
    </a:custClr>
    <a:custClr name="Dark Purple | 80 0 120">
      <a:srgbClr val="500078"/>
    </a:custClr>
    <a:custClr name="Yellow | 255 215 50">
      <a:srgbClr val="FFD732"/>
    </a:custClr>
    <a:custClr name="Orange | 255 144 0">
      <a:srgbClr val="FF9000"/>
    </a:custClr>
    <a:custClr name="Soft Red | 254 131 137">
      <a:srgbClr val="FE8389"/>
    </a:custClr>
    <a:custClr name="Red | 239 1 55">
      <a:srgbClr val="EF0137"/>
    </a:custClr>
    <a:custClr name="Bold Green | For creation of the Focus Line">
      <a:srgbClr val="00FFB9"/>
    </a:custClr>
    <a:custClr name="Bold Blue | For creation of the Focus Line">
      <a:srgbClr val="00E6DC"/>
    </a:custClr>
    <a:custClr name="Light Sand | 243 243 240">
      <a:srgbClr val="F3F3F0"/>
    </a:custClr>
    <a:custClr name="Siemens Petrol | 0 153 153">
      <a:srgbClr val="009999"/>
    </a:custClr>
    <a:custClr name="Soft Green | 0 215 160">
      <a:srgbClr val="00D7A0"/>
    </a:custClr>
    <a:custClr name="Green | 0 175 142">
      <a:srgbClr val="00AF8E"/>
    </a:custClr>
    <a:custClr name="Soft Blue | 0 190 220">
      <a:srgbClr val="00BEDC"/>
    </a:custClr>
    <a:custClr name="Blue | 0 135 190">
      <a:srgbClr val="0087BE"/>
    </a:custClr>
    <a:custClr name="Dark Blue | 0 85 124">
      <a:srgbClr val="00557C"/>
    </a:custClr>
    <a:custClr name="Deep Blue | 0 0 40">
      <a:srgbClr val="000028"/>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iemens 2017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FE6ED"/>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defPPr>
      </a:lstStyle>
    </a:spDef>
    <a:lnDef>
      <a:spPr bwMode="auto">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none" lIns="0" tIns="0" rIns="0" bIns="0" rtlCol="0">
        <a:spAutoFit/>
      </a:bodyPr>
      <a:lstStyle>
        <a:defPPr marL="176213" indent="-176213">
          <a:spcBef>
            <a:spcPts val="300"/>
          </a:spcBef>
          <a:buClr>
            <a:schemeClr val="accent1"/>
          </a:buClr>
          <a:buFont typeface="Arial" panose="020B0604020202020204" pitchFamily="34" charset="0"/>
          <a:buChar char="•"/>
          <a:defRPr sz="1400" dirty="0" err="1"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 255 255 255">
      <a:srgbClr val="FFFFFF"/>
    </a:custClr>
    <a:custClr name="Siemens Accent Yellow dark | 235 120 10">
      <a:srgbClr val="EB780A"/>
    </a:custClr>
    <a:custClr name="Siemens Accent Yellow light | 255 185 0">
      <a:srgbClr val="FFB900"/>
    </a:custClr>
    <a:custClr name="Siemens Stone dark | 60 70 75">
      <a:srgbClr val="3C464B"/>
    </a:custClr>
    <a:custClr name="Siemens Sand dark | 115 100 90">
      <a:srgbClr val="73645A"/>
    </a:custClr>
    <a:custClr name="Siemens Accent Teal dark | 0 100 110">
      <a:srgbClr val="00646E"/>
    </a:custClr>
    <a:custClr name="Siemens Accent Yellow | 125 45 30">
      <a:srgbClr val="7D2D1E"/>
    </a:custClr>
    <a:custClr name="Siemens Accent Red | 65 20 50">
      <a:srgbClr val="411432"/>
    </a:custClr>
    <a:custClr name="Siemens Accent Blue | 0 70 105">
      <a:srgbClr val="004669"/>
    </a:custClr>
    <a:custClr name="Siemens Accent Green | 70 95 25">
      <a:srgbClr val="465F19"/>
    </a:custClr>
    <a:custClr name="Black">
      <a:srgbClr val="000000"/>
    </a:custClr>
    <a:custClr name="Siemens Accent Red dark | 100 25 70">
      <a:srgbClr val="641946"/>
    </a:custClr>
    <a:custClr name="Siemens Accent Red light | 175 35 95">
      <a:srgbClr val="AF235F"/>
    </a:custClr>
    <a:custClr name="Siemens Stone | 120 135 145">
      <a:srgbClr val="788791"/>
    </a:custClr>
    <a:custClr name="Siemens Sand | 155 150 130">
      <a:srgbClr val="9B9682"/>
    </a:custClr>
    <a:custClr name="Siemens Accent Teal | 15 130 135">
      <a:srgbClr val="0F8287"/>
    </a:custClr>
    <a:custClr name="Siemens Accent Yellow | 200 90 30">
      <a:srgbClr val="C85A1E"/>
    </a:custClr>
    <a:custClr name="Siemens Accent Red dark | 100 25 70">
      <a:srgbClr val="641946"/>
    </a:custClr>
    <a:custClr name="Siemens Accent Blue dark | 0 95 135">
      <a:srgbClr val="005F87"/>
    </a:custClr>
    <a:custClr name="Siemens Accent Green dark | 100 125 45">
      <a:srgbClr val="647D2D"/>
    </a:custClr>
    <a:custClr name="Siemens Stone light | 135 155 170">
      <a:srgbClr val="879BAA"/>
    </a:custClr>
    <a:custClr name="Siemens Accent Blue dark | 0 95 135">
      <a:srgbClr val="005F87"/>
    </a:custClr>
    <a:custClr name="Siemens Accent Blue light | 80 190 215">
      <a:srgbClr val="50BED7"/>
    </a:custClr>
    <a:custClr name="Siemens Stone | 155 175 190">
      <a:srgbClr val="9BAFBE"/>
    </a:custClr>
    <a:custClr name="Siemens Sand | 185 185 165">
      <a:srgbClr val="B9B9A5"/>
    </a:custClr>
    <a:custClr name="Siemens Accent Teal | 50 160 160">
      <a:srgbClr val="32A0A0"/>
    </a:custClr>
    <a:custClr name="Siemens Accent Yellow dark | 235 120 10">
      <a:srgbClr val="EB780A"/>
    </a:custClr>
    <a:custClr name="Siemens Accent Red | 135 30 80">
      <a:srgbClr val="871E50"/>
    </a:custClr>
    <a:custClr name="Siemens Accent Blue | 35 135 170">
      <a:srgbClr val="2387AA"/>
    </a:custClr>
    <a:custClr name="Siemens Accent Green | 135 150 40">
      <a:srgbClr val="879628"/>
    </a:custClr>
    <a:custClr name="Siemens Stone light 35% | 190 205 215">
      <a:srgbClr val="BECDD7"/>
    </a:custClr>
    <a:custClr name="Siemens Accent Green dark | 100 125 45">
      <a:srgbClr val="647D2D"/>
    </a:custClr>
    <a:custClr name="Siemens Accent Green light | 170 180 20">
      <a:srgbClr val="AAB414"/>
    </a:custClr>
    <a:custClr name="Siemens Stone light 35% | 190 205 215">
      <a:srgbClr val="BECDD7"/>
    </a:custClr>
    <a:custClr name="Siemens Sand light 35% | 215 215 205">
      <a:srgbClr val="D7D7CD"/>
    </a:custClr>
    <a:custClr name="Siemens Accent Teal | 75 185 185">
      <a:srgbClr val="4BB9B9"/>
    </a:custClr>
    <a:custClr name="Siemens Accent Yellow light | 255 185 0">
      <a:srgbClr val="FFB900"/>
    </a:custClr>
    <a:custClr name="Siemens Accent Red light | 175 35 95">
      <a:srgbClr val="AF235F"/>
    </a:custClr>
    <a:custClr name="Siemens Accent Blue | 65 170 200">
      <a:srgbClr val="41AAC8"/>
    </a:custClr>
    <a:custClr name="Siemens Accent Green light | 170 180 20">
      <a:srgbClr val="AAB414"/>
    </a:custClr>
    <a:custClr name="Siemens Sand light 35% | 215 215 205">
      <a:srgbClr val="D7D7CD"/>
    </a:custClr>
    <a:custClr name="Siemens Accent Teal dark | 0 100 110">
      <a:srgbClr val="00646E"/>
    </a:custClr>
    <a:custClr name="Siemens Accent Teal light | 65 170 170">
      <a:srgbClr val="41AAAA"/>
    </a:custClr>
    <a:custClr name="Siemens Stone | 205 217 225">
      <a:srgbClr val="CDD9E1"/>
    </a:custClr>
    <a:custClr name="Siemens Sand | 225 225 215">
      <a:srgbClr val="E1E1D7"/>
    </a:custClr>
    <a:custClr name="Siemens Accent Teal | 165 225 225">
      <a:srgbClr val="A5E1E1"/>
    </a:custClr>
    <a:custClr name="Siemens Accent Yellow | 255 225 120">
      <a:srgbClr val="FFE178"/>
    </a:custClr>
    <a:custClr name="Siemens Accent Red | 215 105 140">
      <a:srgbClr val="D7698C"/>
    </a:custClr>
    <a:custClr name="Siemens Accent Blue | 125 210 230">
      <a:srgbClr val="7DD2E6"/>
    </a:custClr>
    <a:custClr name="Siemens Accent Green | 210 215 65">
      <a:srgbClr val="D2D741"/>
    </a:custClr>
  </a:custClrLst>
  <a:extLst>
    <a:ext uri="{05A4C25C-085E-4340-85A3-A5531E510DB2}">
      <thm15:themeFamily xmlns:thm15="http://schemas.microsoft.com/office/thememl/2012/main" name="sie-ppt-2010-16x9-standard-eng-v2-1.pptx  -  Schreibgeschützt" id="{182967AB-1BF3-4DBE-828B-88E71BBD688D}" vid="{A64EFA35-5589-4889-8DEB-549EC3214B0A}"/>
    </a:ext>
  </a:extLst>
</a:theme>
</file>

<file path=ppt/theme/theme3.xml><?xml version="1.0" encoding="utf-8"?>
<a:theme xmlns:a="http://schemas.openxmlformats.org/drawingml/2006/main" name="1_Siemens 2020">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Siemens 2020">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sie-ppt-O365-16x9-standard-eng-v3-3-0.potx" id="{11DC4783-774B-49DD-A2CE-4972CE9D4224}" vid="{337C6BAD-B41A-4180-975B-3A08184433B4}"/>
    </a:ext>
  </a:extLst>
</a:theme>
</file>

<file path=ppt/theme/theme5.xml><?xml version="1.0" encoding="utf-8"?>
<a:theme xmlns:a="http://schemas.openxmlformats.org/drawingml/2006/main" name="3_Siemens 2020">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sie-ppt-O365-16x9-standard-eng-v3-2" id="{35CD0D3B-1C9B-4535-9632-5DB8474FE1E5}" vid="{01D209DE-59D0-4C9D-A42F-68657C7C5EF3}"/>
    </a:ext>
  </a:extLst>
</a:theme>
</file>

<file path=ppt/theme/theme6.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56a29dce-6a4a-4243-b6de-e2504095d247">
      <Terms xmlns="http://schemas.microsoft.com/office/infopath/2007/PartnerControls"/>
    </lcf76f155ced4ddcb4097134ff3c332f>
    <TaxCatchAll xmlns="f0ca5584-02ed-47a6-8416-6149467e0751" xsi:nil="true"/>
  </documentManagement>
</p:properties>
</file>

<file path=customXml/item10.xml><?xml version="1.0" encoding="utf-8"?>
<p4ppTags>
  <Name>Free Content + Navigation</Name>
  <PpLayout>32</PpLayout>
  <Index>16</Index>
</p4ppTags>
</file>

<file path=customXml/item11.xml><?xml version="1.0" encoding="utf-8"?>
<p4ppTags>
  <Name>One object (large)</Name>
  <PpLayout>16</PpLayout>
  <Index>10</Index>
</p4ppTags>
</file>

<file path=customXml/item12.xml><?xml version="1.0" encoding="utf-8"?>
<ct:contentTypeSchema xmlns:ct="http://schemas.microsoft.com/office/2006/metadata/contentType" xmlns:ma="http://schemas.microsoft.com/office/2006/metadata/properties/metaAttributes" ct:_="" ma:_="" ma:contentTypeName="Document" ma:contentTypeID="0x010100728254571309EF4A85F9550064AF1528" ma:contentTypeVersion="13" ma:contentTypeDescription="Create a new document." ma:contentTypeScope="" ma:versionID="331fd7677d8fbe9aeda038ea15bcbfa4">
  <xsd:schema xmlns:xsd="http://www.w3.org/2001/XMLSchema" xmlns:xs="http://www.w3.org/2001/XMLSchema" xmlns:p="http://schemas.microsoft.com/office/2006/metadata/properties" xmlns:ns2="56a29dce-6a4a-4243-b6de-e2504095d247" xmlns:ns3="f0ca5584-02ed-47a6-8416-6149467e0751" targetNamespace="http://schemas.microsoft.com/office/2006/metadata/properties" ma:root="true" ma:fieldsID="32b979bb88e156d1fb5d158096dd2cfd" ns2:_="" ns3:_="">
    <xsd:import namespace="56a29dce-6a4a-4243-b6de-e2504095d247"/>
    <xsd:import namespace="f0ca5584-02ed-47a6-8416-6149467e075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a29dce-6a4a-4243-b6de-e2504095d24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e63edab7-d5f1-4c02-989a-0e8ed7c6c383"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0ca5584-02ed-47a6-8416-6149467e075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b07288f6-9e37-4dac-a2fa-2bc432d8404a}" ma:internalName="TaxCatchAll" ma:showField="CatchAllData" ma:web="f0ca5584-02ed-47a6-8416-6149467e075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3.xml><?xml version="1.0" encoding="utf-8"?>
<p4ppTags>
  <Name>Three columns</Name>
  <PpLayout>32</PpLayout>
  <Index>14</Index>
</p4ppTags>
</file>

<file path=customXml/item14.xml><?xml version="1.0" encoding="utf-8"?>
<p4ppTags>
  <Name>Two columns + Navigation</Name>
  <PpLayout>32</PpLayout>
  <Index>19</Index>
</p4ppTags>
</file>

<file path=customXml/item15.xml><?xml version="1.0" encoding="utf-8"?>
<p4ppTags>
  <Name>Four objects + Navigation</Name>
  <PpLayout>32</PpLayout>
  <Index>22</Index>
</p4ppTags>
</file>

<file path=customXml/item16.xml><?xml version="1.0" encoding="utf-8"?>
<p4ppTags>
  <Name>Four objects</Name>
  <PpLayout>24</PpLayout>
  <Index>15</Index>
</p4ppTags>
</file>

<file path=customXml/item17.xml><?xml version="1.0" encoding="utf-8"?>
<p4ppTags>
  <Name>Three columns + Navigation</Name>
  <PpLayout>32</PpLayout>
  <Index>20</Index>
</p4ppTags>
</file>

<file path=customXml/item18.xml><?xml version="1.0" encoding="utf-8"?>
<p4ppTags>
  <Name>Free Content</Name>
  <PpLayout>11</PpLayout>
  <Index>9</Index>
</p4ppTags>
</file>

<file path=customXml/item19.xml><?xml version="1.0" encoding="utf-8"?>
<p4ppTags>
  <Name>Free Content</Name>
  <PpLayout>11</PpLayout>
  <Index>9</Index>
</p4ppTags>
</file>

<file path=customXml/item2.xml><?xml version="1.0" encoding="utf-8"?>
<p4ppTags>
  <Name>Text + Index</Name>
  <PpLayout>32</PpLayout>
  <Index>8</Index>
</p4ppTags>
</file>

<file path=customXml/item20.xml><?xml version="1.0" encoding="utf-8"?>
<p4ppTags>
  <Name>One object (small) + Navigation</Name>
  <PpLayout>32</PpLayout>
  <Index>18</Index>
</p4ppTags>
</file>

<file path=customXml/item3.xml><?xml version="1.0" encoding="utf-8"?>
<p4ppTags>
  <Name>Two rows</Name>
  <PpLayout>32</PpLayout>
  <Index>13</Index>
</p4ppTags>
</file>

<file path=customXml/item4.xml><?xml version="1.0" encoding="utf-8"?>
<p4ppTags>
  <Name>Free Content</Name>
  <PpLayout>11</PpLayout>
  <Index>9</Index>
</p4ppTags>
</file>

<file path=customXml/item5.xml><?xml version="1.0" encoding="utf-8"?>
<p4ppTags>
  <Name>One object (large) + Navigation</Name>
  <PpLayout>32</PpLayout>
  <Index>17</Index>
</p4ppTags>
</file>

<file path=customXml/item6.xml><?xml version="1.0" encoding="utf-8"?>
<p4ppTags>
  <Name>Two columns</Name>
  <PpLayout>29</PpLayout>
  <Index>12</Index>
</p4ppTags>
</file>

<file path=customXml/item7.xml><?xml version="1.0" encoding="utf-8"?>
<p4ppTags>
  <Name>Two rows + Navigation</Name>
  <PpLayout>32</PpLayout>
  <Index>21</Index>
</p4ppTags>
</file>

<file path=customXml/item8.xml><?xml version="1.0" encoding="utf-8"?>
<?mso-contentType ?>
<FormTemplates xmlns="http://schemas.microsoft.com/sharepoint/v3/contenttype/forms">
  <Display>DocumentLibraryForm</Display>
  <Edit>DocumentLibraryForm</Edit>
  <New>DocumentLibraryForm</New>
</FormTemplates>
</file>

<file path=customXml/item9.xml><?xml version="1.0" encoding="utf-8"?>
<p4ppTags>
  <Name>One object (small)</Name>
  <PpLayout>16</PpLayout>
  <Index>11</Index>
</p4ppTags>
</file>

<file path=customXml/itemProps1.xml><?xml version="1.0" encoding="utf-8"?>
<ds:datastoreItem xmlns:ds="http://schemas.openxmlformats.org/officeDocument/2006/customXml" ds:itemID="{DA74B30C-EFC6-424B-94A3-BBC70A60F585}">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f0ca5584-02ed-47a6-8416-6149467e0751"/>
    <ds:schemaRef ds:uri="56a29dce-6a4a-4243-b6de-e2504095d247"/>
    <ds:schemaRef ds:uri="http://www.w3.org/XML/1998/namespace"/>
    <ds:schemaRef ds:uri="http://purl.org/dc/dcmitype/"/>
  </ds:schemaRefs>
</ds:datastoreItem>
</file>

<file path=customXml/itemProps10.xml><?xml version="1.0" encoding="utf-8"?>
<ds:datastoreItem xmlns:ds="http://schemas.openxmlformats.org/officeDocument/2006/customXml" ds:itemID="{7CC5F709-E74B-4E5F-A728-923D5062EBEF}">
  <ds:schemaRefs/>
</ds:datastoreItem>
</file>

<file path=customXml/itemProps11.xml><?xml version="1.0" encoding="utf-8"?>
<ds:datastoreItem xmlns:ds="http://schemas.openxmlformats.org/officeDocument/2006/customXml" ds:itemID="{80661B8B-A327-44F9-823B-4D9EE0B3EC78}">
  <ds:schemaRefs/>
</ds:datastoreItem>
</file>

<file path=customXml/itemProps12.xml><?xml version="1.0" encoding="utf-8"?>
<ds:datastoreItem xmlns:ds="http://schemas.openxmlformats.org/officeDocument/2006/customXml" ds:itemID="{BF723F8F-D89B-4F22-A2D6-86B58BA60554}">
  <ds:schemaRefs>
    <ds:schemaRef ds:uri="56a29dce-6a4a-4243-b6de-e2504095d247"/>
    <ds:schemaRef ds:uri="f0ca5584-02ed-47a6-8416-6149467e075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13.xml><?xml version="1.0" encoding="utf-8"?>
<ds:datastoreItem xmlns:ds="http://schemas.openxmlformats.org/officeDocument/2006/customXml" ds:itemID="{15CF3461-70D1-4B54-AFAB-DAFDA0A238CD}">
  <ds:schemaRefs/>
</ds:datastoreItem>
</file>

<file path=customXml/itemProps14.xml><?xml version="1.0" encoding="utf-8"?>
<ds:datastoreItem xmlns:ds="http://schemas.openxmlformats.org/officeDocument/2006/customXml" ds:itemID="{D7BABA95-BFFE-422B-8591-3271669EEA88}">
  <ds:schemaRefs/>
</ds:datastoreItem>
</file>

<file path=customXml/itemProps15.xml><?xml version="1.0" encoding="utf-8"?>
<ds:datastoreItem xmlns:ds="http://schemas.openxmlformats.org/officeDocument/2006/customXml" ds:itemID="{EAB520BC-C6EC-457E-8AB5-55DB67C86858}">
  <ds:schemaRefs/>
</ds:datastoreItem>
</file>

<file path=customXml/itemProps16.xml><?xml version="1.0" encoding="utf-8"?>
<ds:datastoreItem xmlns:ds="http://schemas.openxmlformats.org/officeDocument/2006/customXml" ds:itemID="{1581BFFB-B4CE-47A8-BE77-DC1339B1E5A7}">
  <ds:schemaRefs/>
</ds:datastoreItem>
</file>

<file path=customXml/itemProps17.xml><?xml version="1.0" encoding="utf-8"?>
<ds:datastoreItem xmlns:ds="http://schemas.openxmlformats.org/officeDocument/2006/customXml" ds:itemID="{85D77EE6-52B7-48BE-9EDB-748F1EBB53DE}">
  <ds:schemaRefs/>
</ds:datastoreItem>
</file>

<file path=customXml/itemProps18.xml><?xml version="1.0" encoding="utf-8"?>
<ds:datastoreItem xmlns:ds="http://schemas.openxmlformats.org/officeDocument/2006/customXml" ds:itemID="{37C515EC-D522-405D-B41B-C430B0B61E3E}">
  <ds:schemaRefs/>
</ds:datastoreItem>
</file>

<file path=customXml/itemProps19.xml><?xml version="1.0" encoding="utf-8"?>
<ds:datastoreItem xmlns:ds="http://schemas.openxmlformats.org/officeDocument/2006/customXml" ds:itemID="{D8097D0C-BE3E-4AEC-9593-65CFCCB19297}">
  <ds:schemaRefs/>
</ds:datastoreItem>
</file>

<file path=customXml/itemProps2.xml><?xml version="1.0" encoding="utf-8"?>
<ds:datastoreItem xmlns:ds="http://schemas.openxmlformats.org/officeDocument/2006/customXml" ds:itemID="{7E35FEDB-1F0E-4D67-A313-4AC59C26FF29}">
  <ds:schemaRefs/>
</ds:datastoreItem>
</file>

<file path=customXml/itemProps20.xml><?xml version="1.0" encoding="utf-8"?>
<ds:datastoreItem xmlns:ds="http://schemas.openxmlformats.org/officeDocument/2006/customXml" ds:itemID="{D9FE249F-833E-4CF0-BECB-552D01D7DC9E}">
  <ds:schemaRefs/>
</ds:datastoreItem>
</file>

<file path=customXml/itemProps3.xml><?xml version="1.0" encoding="utf-8"?>
<ds:datastoreItem xmlns:ds="http://schemas.openxmlformats.org/officeDocument/2006/customXml" ds:itemID="{38AB8DE4-FD9B-4166-BEC3-3F1753596133}">
  <ds:schemaRefs/>
</ds:datastoreItem>
</file>

<file path=customXml/itemProps4.xml><?xml version="1.0" encoding="utf-8"?>
<ds:datastoreItem xmlns:ds="http://schemas.openxmlformats.org/officeDocument/2006/customXml" ds:itemID="{3BAF73FA-DAD9-42B2-A077-6A14ADBEEC32}">
  <ds:schemaRefs/>
</ds:datastoreItem>
</file>

<file path=customXml/itemProps5.xml><?xml version="1.0" encoding="utf-8"?>
<ds:datastoreItem xmlns:ds="http://schemas.openxmlformats.org/officeDocument/2006/customXml" ds:itemID="{B27F640E-84DF-4F97-BC70-D045F1E6594F}">
  <ds:schemaRefs/>
</ds:datastoreItem>
</file>

<file path=customXml/itemProps6.xml><?xml version="1.0" encoding="utf-8"?>
<ds:datastoreItem xmlns:ds="http://schemas.openxmlformats.org/officeDocument/2006/customXml" ds:itemID="{1666F4C2-68F5-4840-A44A-1A646C0925A1}">
  <ds:schemaRefs/>
</ds:datastoreItem>
</file>

<file path=customXml/itemProps7.xml><?xml version="1.0" encoding="utf-8"?>
<ds:datastoreItem xmlns:ds="http://schemas.openxmlformats.org/officeDocument/2006/customXml" ds:itemID="{6C79E4F8-DCFB-483C-880A-AEEC6AAFC838}">
  <ds:schemaRefs/>
</ds:datastoreItem>
</file>

<file path=customXml/itemProps8.xml><?xml version="1.0" encoding="utf-8"?>
<ds:datastoreItem xmlns:ds="http://schemas.openxmlformats.org/officeDocument/2006/customXml" ds:itemID="{8BC37B7B-B9F1-448C-867E-24F8DD891032}">
  <ds:schemaRefs>
    <ds:schemaRef ds:uri="http://schemas.microsoft.com/sharepoint/v3/contenttype/forms"/>
  </ds:schemaRefs>
</ds:datastoreItem>
</file>

<file path=customXml/itemProps9.xml><?xml version="1.0" encoding="utf-8"?>
<ds:datastoreItem xmlns:ds="http://schemas.openxmlformats.org/officeDocument/2006/customXml" ds:itemID="{1618AA06-B22E-4D19-9680-0D7830426729}">
  <ds:schemaRefs/>
</ds:datastoreItem>
</file>

<file path=docProps/app.xml><?xml version="1.0" encoding="utf-8"?>
<Properties xmlns="http://schemas.openxmlformats.org/officeDocument/2006/extended-properties" xmlns:vt="http://schemas.openxmlformats.org/officeDocument/2006/docPropsVTypes">
  <TotalTime>0</TotalTime>
  <Words>1211</Words>
  <Application>Microsoft Office PowerPoint</Application>
  <PresentationFormat>Breedbeeld</PresentationFormat>
  <Paragraphs>176</Paragraphs>
  <Slides>14</Slides>
  <Notes>11</Notes>
  <HiddenSlides>0</HiddenSlides>
  <MMClips>0</MMClips>
  <ScaleCrop>false</ScaleCrop>
  <HeadingPairs>
    <vt:vector size="8" baseType="variant">
      <vt:variant>
        <vt:lpstr>Gebruikte lettertypen</vt:lpstr>
      </vt:variant>
      <vt:variant>
        <vt:i4>3</vt:i4>
      </vt:variant>
      <vt:variant>
        <vt:lpstr>Thema</vt:lpstr>
      </vt:variant>
      <vt:variant>
        <vt:i4>5</vt:i4>
      </vt:variant>
      <vt:variant>
        <vt:lpstr>Ingesloten OLE-bronprogramma's</vt:lpstr>
      </vt:variant>
      <vt:variant>
        <vt:i4>2</vt:i4>
      </vt:variant>
      <vt:variant>
        <vt:lpstr>Diatitels</vt:lpstr>
      </vt:variant>
      <vt:variant>
        <vt:i4>14</vt:i4>
      </vt:variant>
    </vt:vector>
  </HeadingPairs>
  <TitlesOfParts>
    <vt:vector size="24" baseType="lpstr">
      <vt:lpstr>Arial</vt:lpstr>
      <vt:lpstr>Calibri</vt:lpstr>
      <vt:lpstr>Wingdings</vt:lpstr>
      <vt:lpstr>Siemens 2020</vt:lpstr>
      <vt:lpstr>Siemens 2017 – 16:9</vt:lpstr>
      <vt:lpstr>1_Siemens 2020</vt:lpstr>
      <vt:lpstr>2_Siemens 2020</vt:lpstr>
      <vt:lpstr>3_Siemens 2020</vt:lpstr>
      <vt:lpstr>think-cell Folie</vt:lpstr>
      <vt:lpstr>think-cell Slide</vt:lpstr>
      <vt:lpstr>AI @ Siemens Onze visie op de ontwikkeling van AI </vt:lpstr>
      <vt:lpstr>PowerPoint-presentatie</vt:lpstr>
      <vt:lpstr>PowerPoint-presentatie</vt:lpstr>
      <vt:lpstr> The importance of Artificial Intelligence (AI) for the industry is growing</vt:lpstr>
      <vt:lpstr>AI helps safeguard the future Mastering increasing complexity and securing competitive advantages with AI</vt:lpstr>
      <vt:lpstr>Urgent implications for industry</vt:lpstr>
      <vt:lpstr>Our customers’ challenges are increasing – with new ones on top of them.</vt:lpstr>
      <vt:lpstr>AI and the human factor  </vt:lpstr>
      <vt:lpstr>AI is making its way into all industries With maximum benefit for the factory of tomorrow</vt:lpstr>
      <vt:lpstr>AI in ons dagelijks leven </vt:lpstr>
      <vt:lpstr>Wat doet Siemens op het gebied van AI? </vt:lpstr>
      <vt:lpstr>Wat doet Siemens op het gebied van AI? </vt:lpstr>
      <vt:lpstr>PowerPoint-presentatie</vt:lpstr>
      <vt:lpstr>Q&amp;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Vellinga, Jeroen (RC-NL DI FA MS&amp;SYS PRM)</dc:creator>
  <cp:lastModifiedBy>Anneke Post</cp:lastModifiedBy>
  <cp:revision>5</cp:revision>
  <cp:lastPrinted>2022-07-26T10:59:33Z</cp:lastPrinted>
  <dcterms:created xsi:type="dcterms:W3CDTF">2020-11-10T08:26:14Z</dcterms:created>
  <dcterms:modified xsi:type="dcterms:W3CDTF">2023-06-12T12:3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8254571309EF4A85F9550064AF1528</vt:lpwstr>
  </property>
  <property fmtid="{D5CDD505-2E9C-101B-9397-08002B2CF9AE}" pid="3" name="MSIP_Label_a59b6cd5-d141-4a33-8bf1-0ca04484304f_Enabled">
    <vt:lpwstr>true</vt:lpwstr>
  </property>
  <property fmtid="{D5CDD505-2E9C-101B-9397-08002B2CF9AE}" pid="4" name="MSIP_Label_a59b6cd5-d141-4a33-8bf1-0ca04484304f_SetDate">
    <vt:lpwstr>2022-05-17T12:05:36Z</vt:lpwstr>
  </property>
  <property fmtid="{D5CDD505-2E9C-101B-9397-08002B2CF9AE}" pid="5" name="MSIP_Label_a59b6cd5-d141-4a33-8bf1-0ca04484304f_Method">
    <vt:lpwstr>Standard</vt:lpwstr>
  </property>
  <property fmtid="{D5CDD505-2E9C-101B-9397-08002B2CF9AE}" pid="6" name="MSIP_Label_a59b6cd5-d141-4a33-8bf1-0ca04484304f_Name">
    <vt:lpwstr>restricted-default</vt:lpwstr>
  </property>
  <property fmtid="{D5CDD505-2E9C-101B-9397-08002B2CF9AE}" pid="7" name="MSIP_Label_a59b6cd5-d141-4a33-8bf1-0ca04484304f_SiteId">
    <vt:lpwstr>38ae3bcd-9579-4fd4-adda-b42e1495d55a</vt:lpwstr>
  </property>
  <property fmtid="{D5CDD505-2E9C-101B-9397-08002B2CF9AE}" pid="8" name="MSIP_Label_a59b6cd5-d141-4a33-8bf1-0ca04484304f_ActionId">
    <vt:lpwstr>e4b89618-e2f8-472c-a6de-411adfb445e7</vt:lpwstr>
  </property>
  <property fmtid="{D5CDD505-2E9C-101B-9397-08002B2CF9AE}" pid="9" name="MSIP_Label_a59b6cd5-d141-4a33-8bf1-0ca04484304f_ContentBits">
    <vt:lpwstr>0</vt:lpwstr>
  </property>
  <property fmtid="{D5CDD505-2E9C-101B-9397-08002B2CF9AE}" pid="10" name="Document_Confidentiality">
    <vt:lpwstr>Restricted</vt:lpwstr>
  </property>
  <property fmtid="{D5CDD505-2E9C-101B-9397-08002B2CF9AE}" pid="11" name="Order">
    <vt:r8>8100</vt:r8>
  </property>
  <property fmtid="{D5CDD505-2E9C-101B-9397-08002B2CF9AE}" pid="12" name="xd_Signature">
    <vt:bool>false</vt:bool>
  </property>
  <property fmtid="{D5CDD505-2E9C-101B-9397-08002B2CF9AE}" pid="13" name="xd_ProgID">
    <vt:lpwstr/>
  </property>
  <property fmtid="{D5CDD505-2E9C-101B-9397-08002B2CF9AE}" pid="14" name="TriggerFlowInfo">
    <vt:lpwstr/>
  </property>
  <property fmtid="{D5CDD505-2E9C-101B-9397-08002B2CF9AE}" pid="15" name="ComplianceAssetId">
    <vt:lpwstr/>
  </property>
  <property fmtid="{D5CDD505-2E9C-101B-9397-08002B2CF9AE}" pid="16" name="TemplateUrl">
    <vt:lpwstr/>
  </property>
  <property fmtid="{D5CDD505-2E9C-101B-9397-08002B2CF9AE}" pid="17" name="_ExtendedDescription">
    <vt:lpwstr/>
  </property>
  <property fmtid="{D5CDD505-2E9C-101B-9397-08002B2CF9AE}" pid="18" name="MediaServiceImageTags">
    <vt:lpwstr/>
  </property>
</Properties>
</file>